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908" r:id="rId5"/>
    <p:sldMasterId id="2147484189" r:id="rId6"/>
    <p:sldMasterId id="2147484200" r:id="rId7"/>
  </p:sldMasterIdLst>
  <p:notesMasterIdLst>
    <p:notesMasterId r:id="rId19"/>
  </p:notesMasterIdLst>
  <p:handoutMasterIdLst>
    <p:handoutMasterId r:id="rId20"/>
  </p:handoutMasterIdLst>
  <p:sldIdLst>
    <p:sldId id="2147469300" r:id="rId8"/>
    <p:sldId id="2147469301" r:id="rId9"/>
    <p:sldId id="2147469306" r:id="rId10"/>
    <p:sldId id="2147469307" r:id="rId11"/>
    <p:sldId id="2147469308" r:id="rId12"/>
    <p:sldId id="2147469309" r:id="rId13"/>
    <p:sldId id="2147469304" r:id="rId14"/>
    <p:sldId id="2147469282" r:id="rId15"/>
    <p:sldId id="2147469303" r:id="rId16"/>
    <p:sldId id="2147469302" r:id="rId17"/>
    <p:sldId id="2147469310" r:id="rId18"/>
  </p:sldIdLst>
  <p:sldSz cx="12192000" cy="6858000"/>
  <p:notesSz cx="7102475" cy="9388475"/>
  <p:embeddedFontLst>
    <p:embeddedFont>
      <p:font typeface="Bahnschrift Condensed" panose="020B0502040204020203" pitchFamily="34" charset="0"/>
      <p:regular r:id="rId21"/>
      <p:bold r:id="rId22"/>
    </p:embeddedFont>
    <p:embeddedFont>
      <p:font typeface="Georgia" panose="02040502050405020303" pitchFamily="18" charset="0"/>
      <p:regular r:id="rId23"/>
      <p:bold r:id="rId24"/>
      <p:italic r:id="rId25"/>
      <p:boldItalic r:id="rId26"/>
    </p:embeddedFont>
    <p:embeddedFont>
      <p:font typeface="Segoe UI" panose="020B0502040204020203" pitchFamily="34" charset="0"/>
      <p:regular r:id="rId27"/>
      <p:bold r:id="rId28"/>
      <p:italic r:id="rId29"/>
      <p:boldItalic r:id="rId30"/>
    </p:embeddedFont>
    <p:embeddedFont>
      <p:font typeface="Webdings" panose="05030102010509060703" pitchFamily="18" charset="2"/>
      <p:regular r:id="rId31"/>
    </p:embeddedFont>
    <p:embeddedFont>
      <p:font typeface="Wingdings 3" panose="05040102010807070707" pitchFamily="18" charset="2"/>
      <p:regular r:id="rId32"/>
    </p:embeddedFont>
  </p:embeddedFont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C30C95-76D7-4ECA-BC9E-2CE532C7FBA8}">
          <p14:sldIdLst>
            <p14:sldId id="2147469300"/>
            <p14:sldId id="2147469301"/>
            <p14:sldId id="2147469306"/>
            <p14:sldId id="2147469307"/>
            <p14:sldId id="2147469308"/>
            <p14:sldId id="2147469309"/>
            <p14:sldId id="2147469304"/>
            <p14:sldId id="2147469282"/>
            <p14:sldId id="2147469303"/>
            <p14:sldId id="2147469302"/>
            <p14:sldId id="21474693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A7AC41-A519-2A98-47AE-BF1675CD267B}" name="El Bissis, Kenza" initials="EBK" userId="S::k.el.bissis@accenture.com::44aaab26-bec3-4440-8bf8-f0ba09e6a115" providerId="AD"/>
  <p188:author id="{D7ED3D9D-E85A-77F5-BE8B-6D30C70CD411}" name="Abline, Anne-Hélène" initials="AA" userId="S::anne-helene.abline@accenture.com::4775964d-18f9-43ef-92a1-5aebacbbf184" providerId="AD"/>
  <p188:author id="{D8F414AC-76AF-F0D5-79BE-AA625768E166}" name="Mehdi ZINE" initials="MZ" userId="S::Mehdi.ZINE@esante.gouv.fr::ea1b4a29-24bb-4d1c-baed-be8d868458a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AMET, Odile (DNS)" initials="JO(" lastIdx="24" clrIdx="6">
    <p:extLst>
      <p:ext uri="{19B8F6BF-5375-455C-9EA6-DF929625EA0E}">
        <p15:presenceInfo xmlns:p15="http://schemas.microsoft.com/office/powerpoint/2012/main" userId="S-1-5-21-27022435-3177379373-3347635678-22622" providerId="AD"/>
      </p:ext>
    </p:extLst>
  </p:cmAuthor>
  <p:cmAuthor id="1" name="Haley Rich" initials="HR" lastIdx="1" clrIdx="0">
    <p:extLst>
      <p:ext uri="{19B8F6BF-5375-455C-9EA6-DF929625EA0E}">
        <p15:presenceInfo xmlns:p15="http://schemas.microsoft.com/office/powerpoint/2012/main" userId="S-1-5-21-1801674531-1788223648-725345543-11859" providerId="AD"/>
      </p:ext>
    </p:extLst>
  </p:cmAuthor>
  <p:cmAuthor id="8" name="Martin, Sarah A." initials="MSA" lastIdx="4" clrIdx="7">
    <p:extLst>
      <p:ext uri="{19B8F6BF-5375-455C-9EA6-DF929625EA0E}">
        <p15:presenceInfo xmlns:p15="http://schemas.microsoft.com/office/powerpoint/2012/main" userId="S::sarah.a.martin@accenture.com::bb0338da-d85b-4e5e-8823-10b1316ad146" providerId="AD"/>
      </p:ext>
    </p:extLst>
  </p:cmAuthor>
  <p:cmAuthor id="2" name="Edouard Paya" initials="EP" lastIdx="3" clrIdx="1">
    <p:extLst>
      <p:ext uri="{19B8F6BF-5375-455C-9EA6-DF929625EA0E}">
        <p15:presenceInfo xmlns:p15="http://schemas.microsoft.com/office/powerpoint/2012/main" userId="Edouard Paya" providerId="None"/>
      </p:ext>
    </p:extLst>
  </p:cmAuthor>
  <p:cmAuthor id="9" name="El Bissis, Kenza" initials="EBK" lastIdx="6" clrIdx="8">
    <p:extLst>
      <p:ext uri="{19B8F6BF-5375-455C-9EA6-DF929625EA0E}">
        <p15:presenceInfo xmlns:p15="http://schemas.microsoft.com/office/powerpoint/2012/main" userId="S::k.el.bissis@accenture.com::44aaab26-bec3-4440-8bf8-f0ba09e6a115" providerId="AD"/>
      </p:ext>
    </p:extLst>
  </p:cmAuthor>
  <p:cmAuthor id="3" name="Sophie MOREAU-FAVIER" initials="SM" lastIdx="13" clrIdx="2">
    <p:extLst>
      <p:ext uri="{19B8F6BF-5375-455C-9EA6-DF929625EA0E}">
        <p15:presenceInfo xmlns:p15="http://schemas.microsoft.com/office/powerpoint/2012/main" userId="S-1-5-21-3334185378-18229324-514618537-5475" providerId="AD"/>
      </p:ext>
    </p:extLst>
  </p:cmAuthor>
  <p:cmAuthor id="4" name="RAGON Séverine" initials="RS" lastIdx="1" clrIdx="3">
    <p:extLst>
      <p:ext uri="{19B8F6BF-5375-455C-9EA6-DF929625EA0E}">
        <p15:presenceInfo xmlns:p15="http://schemas.microsoft.com/office/powerpoint/2012/main" userId="S::severine.ragon@mazars.fr::8e95cd8b-ab0b-489c-9844-689c9dab7331" providerId="AD"/>
      </p:ext>
    </p:extLst>
  </p:cmAuthor>
  <p:cmAuthor id="5" name="DNS" initials="DNS" lastIdx="12" clrIdx="4">
    <p:extLst>
      <p:ext uri="{19B8F6BF-5375-455C-9EA6-DF929625EA0E}">
        <p15:presenceInfo xmlns:p15="http://schemas.microsoft.com/office/powerpoint/2012/main" userId="DNS" providerId="None"/>
      </p:ext>
    </p:extLst>
  </p:cmAuthor>
  <p:cmAuthor id="6" name="DANYACH Myriam" initials="DM" lastIdx="2" clrIdx="5">
    <p:extLst>
      <p:ext uri="{19B8F6BF-5375-455C-9EA6-DF929625EA0E}">
        <p15:presenceInfo xmlns:p15="http://schemas.microsoft.com/office/powerpoint/2012/main" userId="S-1-5-21-73586283-1343024091-725345543-128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D5F3"/>
    <a:srgbClr val="D6BBEB"/>
    <a:srgbClr val="EAF3D8"/>
    <a:srgbClr val="C6EFFF"/>
    <a:srgbClr val="9295E1"/>
    <a:srgbClr val="535927"/>
    <a:srgbClr val="A8CC60"/>
    <a:srgbClr val="D5D5D1"/>
    <a:srgbClr val="63BE7B"/>
    <a:srgbClr val="BF7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6.fntdata"/><Relationship Id="rId39" Type="http://schemas.microsoft.com/office/2016/11/relationships/changesInfo" Target="changesInfos/changesInfo1.xml"/><Relationship Id="rId21" Type="http://schemas.openxmlformats.org/officeDocument/2006/relationships/font" Target="fonts/font1.fntdata"/><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5.fntdata"/><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29"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notesMaster" Target="notesMasters/notesMaster1.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hdi ZINE" userId="ea1b4a29-24bb-4d1c-baed-be8d868458ab" providerId="ADAL" clId="{BD6DBAEA-0CB8-43C7-B50B-ADBAAB869F61}"/>
    <pc:docChg chg="custSel modSld">
      <pc:chgData name="Mehdi ZINE" userId="ea1b4a29-24bb-4d1c-baed-be8d868458ab" providerId="ADAL" clId="{BD6DBAEA-0CB8-43C7-B50B-ADBAAB869F61}" dt="2024-05-14T12:51:44.813" v="452" actId="478"/>
      <pc:docMkLst>
        <pc:docMk/>
      </pc:docMkLst>
      <pc:sldChg chg="modSp mod">
        <pc:chgData name="Mehdi ZINE" userId="ea1b4a29-24bb-4d1c-baed-be8d868458ab" providerId="ADAL" clId="{BD6DBAEA-0CB8-43C7-B50B-ADBAAB869F61}" dt="2024-05-14T12:22:42.246" v="30" actId="207"/>
        <pc:sldMkLst>
          <pc:docMk/>
          <pc:sldMk cId="1500867723" sldId="2147469301"/>
        </pc:sldMkLst>
        <pc:spChg chg="mod">
          <ac:chgData name="Mehdi ZINE" userId="ea1b4a29-24bb-4d1c-baed-be8d868458ab" providerId="ADAL" clId="{BD6DBAEA-0CB8-43C7-B50B-ADBAAB869F61}" dt="2024-05-14T12:22:42.246" v="30" actId="207"/>
          <ac:spMkLst>
            <pc:docMk/>
            <pc:sldMk cId="1500867723" sldId="2147469301"/>
            <ac:spMk id="5" creationId="{28F4B33F-3E7B-BE6D-A7AC-D7C011EC0EE9}"/>
          </ac:spMkLst>
        </pc:spChg>
      </pc:sldChg>
      <pc:sldChg chg="addSp delSp modSp mod">
        <pc:chgData name="Mehdi ZINE" userId="ea1b4a29-24bb-4d1c-baed-be8d868458ab" providerId="ADAL" clId="{BD6DBAEA-0CB8-43C7-B50B-ADBAAB869F61}" dt="2024-05-14T12:51:44.813" v="452" actId="478"/>
        <pc:sldMkLst>
          <pc:docMk/>
          <pc:sldMk cId="958994255" sldId="2147469303"/>
        </pc:sldMkLst>
        <pc:spChg chg="mod">
          <ac:chgData name="Mehdi ZINE" userId="ea1b4a29-24bb-4d1c-baed-be8d868458ab" providerId="ADAL" clId="{BD6DBAEA-0CB8-43C7-B50B-ADBAAB869F61}" dt="2024-05-14T12:51:15.981" v="451" actId="1036"/>
          <ac:spMkLst>
            <pc:docMk/>
            <pc:sldMk cId="958994255" sldId="2147469303"/>
            <ac:spMk id="3" creationId="{4F9F265A-07E2-5F71-101C-1D89C83B847B}"/>
          </ac:spMkLst>
        </pc:spChg>
        <pc:spChg chg="mod">
          <ac:chgData name="Mehdi ZINE" userId="ea1b4a29-24bb-4d1c-baed-be8d868458ab" providerId="ADAL" clId="{BD6DBAEA-0CB8-43C7-B50B-ADBAAB869F61}" dt="2024-05-14T12:47:31.642" v="339" actId="1076"/>
          <ac:spMkLst>
            <pc:docMk/>
            <pc:sldMk cId="958994255" sldId="2147469303"/>
            <ac:spMk id="4" creationId="{F5D53FB5-AEEA-E299-8C02-197C9FF17B43}"/>
          </ac:spMkLst>
        </pc:spChg>
        <pc:spChg chg="mod">
          <ac:chgData name="Mehdi ZINE" userId="ea1b4a29-24bb-4d1c-baed-be8d868458ab" providerId="ADAL" clId="{BD6DBAEA-0CB8-43C7-B50B-ADBAAB869F61}" dt="2024-05-14T12:50:52.178" v="441" actId="1076"/>
          <ac:spMkLst>
            <pc:docMk/>
            <pc:sldMk cId="958994255" sldId="2147469303"/>
            <ac:spMk id="6" creationId="{CA5AB0C8-2B6A-9097-1375-892A50421B03}"/>
          </ac:spMkLst>
        </pc:spChg>
        <pc:spChg chg="add mod">
          <ac:chgData name="Mehdi ZINE" userId="ea1b4a29-24bb-4d1c-baed-be8d868458ab" providerId="ADAL" clId="{BD6DBAEA-0CB8-43C7-B50B-ADBAAB869F61}" dt="2024-05-14T12:51:00.137" v="443" actId="14100"/>
          <ac:spMkLst>
            <pc:docMk/>
            <pc:sldMk cId="958994255" sldId="2147469303"/>
            <ac:spMk id="7" creationId="{477A539D-F41D-7CB0-EB7D-C0488B631002}"/>
          </ac:spMkLst>
        </pc:spChg>
        <pc:spChg chg="add del mod">
          <ac:chgData name="Mehdi ZINE" userId="ea1b4a29-24bb-4d1c-baed-be8d868458ab" providerId="ADAL" clId="{BD6DBAEA-0CB8-43C7-B50B-ADBAAB869F61}" dt="2024-05-14T12:51:03.347" v="444" actId="478"/>
          <ac:spMkLst>
            <pc:docMk/>
            <pc:sldMk cId="958994255" sldId="2147469303"/>
            <ac:spMk id="8" creationId="{F32A167C-2D15-F73C-AE4A-15B5A0F754AE}"/>
          </ac:spMkLst>
        </pc:spChg>
        <pc:spChg chg="mod">
          <ac:chgData name="Mehdi ZINE" userId="ea1b4a29-24bb-4d1c-baed-be8d868458ab" providerId="ADAL" clId="{BD6DBAEA-0CB8-43C7-B50B-ADBAAB869F61}" dt="2024-05-14T12:47:24.492" v="337" actId="1076"/>
          <ac:spMkLst>
            <pc:docMk/>
            <pc:sldMk cId="958994255" sldId="2147469303"/>
            <ac:spMk id="9" creationId="{7EEAE61B-AA5F-84BC-078A-027675E03ED6}"/>
          </ac:spMkLst>
        </pc:spChg>
        <pc:spChg chg="add mod">
          <ac:chgData name="Mehdi ZINE" userId="ea1b4a29-24bb-4d1c-baed-be8d868458ab" providerId="ADAL" clId="{BD6DBAEA-0CB8-43C7-B50B-ADBAAB869F61}" dt="2024-05-14T12:47:14.748" v="335" actId="1076"/>
          <ac:spMkLst>
            <pc:docMk/>
            <pc:sldMk cId="958994255" sldId="2147469303"/>
            <ac:spMk id="10" creationId="{5FB40BF9-98BC-9091-0880-8236B2C98A7C}"/>
          </ac:spMkLst>
        </pc:spChg>
        <pc:spChg chg="mod">
          <ac:chgData name="Mehdi ZINE" userId="ea1b4a29-24bb-4d1c-baed-be8d868458ab" providerId="ADAL" clId="{BD6DBAEA-0CB8-43C7-B50B-ADBAAB869F61}" dt="2024-05-14T12:48:28.082" v="379" actId="1076"/>
          <ac:spMkLst>
            <pc:docMk/>
            <pc:sldMk cId="958994255" sldId="2147469303"/>
            <ac:spMk id="11" creationId="{C7766583-644A-C290-70CA-BF7D497AB113}"/>
          </ac:spMkLst>
        </pc:spChg>
        <pc:spChg chg="add mod">
          <ac:chgData name="Mehdi ZINE" userId="ea1b4a29-24bb-4d1c-baed-be8d868458ab" providerId="ADAL" clId="{BD6DBAEA-0CB8-43C7-B50B-ADBAAB869F61}" dt="2024-05-14T12:48:32.020" v="380" actId="1076"/>
          <ac:spMkLst>
            <pc:docMk/>
            <pc:sldMk cId="958994255" sldId="2147469303"/>
            <ac:spMk id="12" creationId="{80D72249-F722-07CF-8717-015870C57D6D}"/>
          </ac:spMkLst>
        </pc:spChg>
        <pc:spChg chg="add mod">
          <ac:chgData name="Mehdi ZINE" userId="ea1b4a29-24bb-4d1c-baed-be8d868458ab" providerId="ADAL" clId="{BD6DBAEA-0CB8-43C7-B50B-ADBAAB869F61}" dt="2024-05-14T12:49:30.785" v="427" actId="1076"/>
          <ac:spMkLst>
            <pc:docMk/>
            <pc:sldMk cId="958994255" sldId="2147469303"/>
            <ac:spMk id="13" creationId="{4E89AF74-A08B-149E-25D4-0BCBAF31FE5B}"/>
          </ac:spMkLst>
        </pc:spChg>
        <pc:spChg chg="mod">
          <ac:chgData name="Mehdi ZINE" userId="ea1b4a29-24bb-4d1c-baed-be8d868458ab" providerId="ADAL" clId="{BD6DBAEA-0CB8-43C7-B50B-ADBAAB869F61}" dt="2024-05-14T12:50:06.744" v="433" actId="14100"/>
          <ac:spMkLst>
            <pc:docMk/>
            <pc:sldMk cId="958994255" sldId="2147469303"/>
            <ac:spMk id="14" creationId="{8B244FA8-B579-A47E-6806-AB6322B2154F}"/>
          </ac:spMkLst>
        </pc:spChg>
        <pc:spChg chg="del">
          <ac:chgData name="Mehdi ZINE" userId="ea1b4a29-24bb-4d1c-baed-be8d868458ab" providerId="ADAL" clId="{BD6DBAEA-0CB8-43C7-B50B-ADBAAB869F61}" dt="2024-05-14T12:26:49.195" v="75" actId="478"/>
          <ac:spMkLst>
            <pc:docMk/>
            <pc:sldMk cId="958994255" sldId="2147469303"/>
            <ac:spMk id="15" creationId="{71497284-181E-A9B3-E620-4566A1FF6203}"/>
          </ac:spMkLst>
        </pc:spChg>
        <pc:spChg chg="mod">
          <ac:chgData name="Mehdi ZINE" userId="ea1b4a29-24bb-4d1c-baed-be8d868458ab" providerId="ADAL" clId="{BD6DBAEA-0CB8-43C7-B50B-ADBAAB869F61}" dt="2024-05-14T12:50:38.111" v="438" actId="2085"/>
          <ac:spMkLst>
            <pc:docMk/>
            <pc:sldMk cId="958994255" sldId="2147469303"/>
            <ac:spMk id="17" creationId="{28AFF481-8433-1E43-6A2B-C9F2B1BEEC76}"/>
          </ac:spMkLst>
        </pc:spChg>
        <pc:spChg chg="mod">
          <ac:chgData name="Mehdi ZINE" userId="ea1b4a29-24bb-4d1c-baed-be8d868458ab" providerId="ADAL" clId="{BD6DBAEA-0CB8-43C7-B50B-ADBAAB869F61}" dt="2024-05-14T12:49:37.509" v="429" actId="1076"/>
          <ac:spMkLst>
            <pc:docMk/>
            <pc:sldMk cId="958994255" sldId="2147469303"/>
            <ac:spMk id="19" creationId="{2E275ED2-9A6A-CF4C-4483-AC1EF4941806}"/>
          </ac:spMkLst>
        </pc:spChg>
        <pc:spChg chg="mod">
          <ac:chgData name="Mehdi ZINE" userId="ea1b4a29-24bb-4d1c-baed-be8d868458ab" providerId="ADAL" clId="{BD6DBAEA-0CB8-43C7-B50B-ADBAAB869F61}" dt="2024-05-14T12:49:43.086" v="430" actId="1076"/>
          <ac:spMkLst>
            <pc:docMk/>
            <pc:sldMk cId="958994255" sldId="2147469303"/>
            <ac:spMk id="20" creationId="{19AD2FAE-87DA-FAE8-D9D9-14E0D918B33F}"/>
          </ac:spMkLst>
        </pc:spChg>
        <pc:spChg chg="del">
          <ac:chgData name="Mehdi ZINE" userId="ea1b4a29-24bb-4d1c-baed-be8d868458ab" providerId="ADAL" clId="{BD6DBAEA-0CB8-43C7-B50B-ADBAAB869F61}" dt="2024-05-14T12:26:49.195" v="75" actId="478"/>
          <ac:spMkLst>
            <pc:docMk/>
            <pc:sldMk cId="958994255" sldId="2147469303"/>
            <ac:spMk id="24" creationId="{CDBD7279-97C6-98DD-5C94-D5DC89205897}"/>
          </ac:spMkLst>
        </pc:spChg>
        <pc:spChg chg="del mod">
          <ac:chgData name="Mehdi ZINE" userId="ea1b4a29-24bb-4d1c-baed-be8d868458ab" providerId="ADAL" clId="{BD6DBAEA-0CB8-43C7-B50B-ADBAAB869F61}" dt="2024-05-14T12:51:44.813" v="452" actId="478"/>
          <ac:spMkLst>
            <pc:docMk/>
            <pc:sldMk cId="958994255" sldId="2147469303"/>
            <ac:spMk id="25" creationId="{C934C65B-B924-D763-F87C-AFB8D5335399}"/>
          </ac:spMkLst>
        </pc:spChg>
        <pc:spChg chg="mod">
          <ac:chgData name="Mehdi ZINE" userId="ea1b4a29-24bb-4d1c-baed-be8d868458ab" providerId="ADAL" clId="{BD6DBAEA-0CB8-43C7-B50B-ADBAAB869F61}" dt="2024-05-14T12:48:48.972" v="383" actId="14100"/>
          <ac:spMkLst>
            <pc:docMk/>
            <pc:sldMk cId="958994255" sldId="2147469303"/>
            <ac:spMk id="30" creationId="{1CD7FB5C-D7E1-7246-F0C3-2683BFF53F42}"/>
          </ac:spMkLst>
        </pc:spChg>
        <pc:spChg chg="mod">
          <ac:chgData name="Mehdi ZINE" userId="ea1b4a29-24bb-4d1c-baed-be8d868458ab" providerId="ADAL" clId="{BD6DBAEA-0CB8-43C7-B50B-ADBAAB869F61}" dt="2024-05-14T12:50:09.709" v="434" actId="14100"/>
          <ac:spMkLst>
            <pc:docMk/>
            <pc:sldMk cId="958994255" sldId="2147469303"/>
            <ac:spMk id="39" creationId="{3E050A1C-DEE2-4D6A-9BD3-9AF045350B6E}"/>
          </ac:spMkLst>
        </pc:spChg>
        <pc:spChg chg="del">
          <ac:chgData name="Mehdi ZINE" userId="ea1b4a29-24bb-4d1c-baed-be8d868458ab" providerId="ADAL" clId="{BD6DBAEA-0CB8-43C7-B50B-ADBAAB869F61}" dt="2024-05-14T12:26:42.894" v="74" actId="478"/>
          <ac:spMkLst>
            <pc:docMk/>
            <pc:sldMk cId="958994255" sldId="2147469303"/>
            <ac:spMk id="43" creationId="{AC50342E-2769-41A0-8176-1058CE45A173}"/>
          </ac:spMkLst>
        </pc:spChg>
        <pc:spChg chg="mod">
          <ac:chgData name="Mehdi ZINE" userId="ea1b4a29-24bb-4d1c-baed-be8d868458ab" providerId="ADAL" clId="{BD6DBAEA-0CB8-43C7-B50B-ADBAAB869F61}" dt="2024-05-14T12:51:15.981" v="451" actId="1036"/>
          <ac:spMkLst>
            <pc:docMk/>
            <pc:sldMk cId="958994255" sldId="2147469303"/>
            <ac:spMk id="45" creationId="{182DE3A2-5200-45B2-BDAE-6EF4DBB298AB}"/>
          </ac:spMkLst>
        </pc:spChg>
        <pc:spChg chg="mod">
          <ac:chgData name="Mehdi ZINE" userId="ea1b4a29-24bb-4d1c-baed-be8d868458ab" providerId="ADAL" clId="{BD6DBAEA-0CB8-43C7-B50B-ADBAAB869F61}" dt="2024-05-14T12:47:28.644" v="338" actId="14100"/>
          <ac:spMkLst>
            <pc:docMk/>
            <pc:sldMk cId="958994255" sldId="2147469303"/>
            <ac:spMk id="78" creationId="{24F87522-E40D-44E0-8CBB-B7D4C4428F94}"/>
          </ac:spMkLst>
        </pc:spChg>
        <pc:graphicFrameChg chg="mod modGraphic">
          <ac:chgData name="Mehdi ZINE" userId="ea1b4a29-24bb-4d1c-baed-be8d868458ab" providerId="ADAL" clId="{BD6DBAEA-0CB8-43C7-B50B-ADBAAB869F61}" dt="2024-05-14T12:50:01.292" v="432" actId="14100"/>
          <ac:graphicFrameMkLst>
            <pc:docMk/>
            <pc:sldMk cId="958994255" sldId="2147469303"/>
            <ac:graphicFrameMk id="105" creationId="{FF44D718-8108-4069-96A0-A004A94BDAAB}"/>
          </ac:graphicFrameMkLst>
        </pc:graphicFrameChg>
      </pc:sldChg>
      <pc:sldChg chg="addSp modSp mod">
        <pc:chgData name="Mehdi ZINE" userId="ea1b4a29-24bb-4d1c-baed-be8d868458ab" providerId="ADAL" clId="{BD6DBAEA-0CB8-43C7-B50B-ADBAAB869F61}" dt="2024-05-14T12:24:37.094" v="69" actId="1076"/>
        <pc:sldMkLst>
          <pc:docMk/>
          <pc:sldMk cId="2680212224" sldId="2147469304"/>
        </pc:sldMkLst>
        <pc:spChg chg="mod">
          <ac:chgData name="Mehdi ZINE" userId="ea1b4a29-24bb-4d1c-baed-be8d868458ab" providerId="ADAL" clId="{BD6DBAEA-0CB8-43C7-B50B-ADBAAB869F61}" dt="2024-05-14T12:23:30.154" v="49" actId="207"/>
          <ac:spMkLst>
            <pc:docMk/>
            <pc:sldMk cId="2680212224" sldId="2147469304"/>
            <ac:spMk id="5" creationId="{28F4B33F-3E7B-BE6D-A7AC-D7C011EC0EE9}"/>
          </ac:spMkLst>
        </pc:spChg>
        <pc:spChg chg="add mod">
          <ac:chgData name="Mehdi ZINE" userId="ea1b4a29-24bb-4d1c-baed-be8d868458ab" providerId="ADAL" clId="{BD6DBAEA-0CB8-43C7-B50B-ADBAAB869F61}" dt="2024-05-14T12:24:14.216" v="64" actId="1076"/>
          <ac:spMkLst>
            <pc:docMk/>
            <pc:sldMk cId="2680212224" sldId="2147469304"/>
            <ac:spMk id="6" creationId="{A9655446-1AC6-4729-AC62-1BA3F7474AC0}"/>
          </ac:spMkLst>
        </pc:spChg>
        <pc:spChg chg="add mod">
          <ac:chgData name="Mehdi ZINE" userId="ea1b4a29-24bb-4d1c-baed-be8d868458ab" providerId="ADAL" clId="{BD6DBAEA-0CB8-43C7-B50B-ADBAAB869F61}" dt="2024-05-14T12:24:20.344" v="66" actId="1076"/>
          <ac:spMkLst>
            <pc:docMk/>
            <pc:sldMk cId="2680212224" sldId="2147469304"/>
            <ac:spMk id="8" creationId="{1750F186-8C29-7F8D-9715-119BEE82B7F9}"/>
          </ac:spMkLst>
        </pc:spChg>
        <pc:spChg chg="add mod">
          <ac:chgData name="Mehdi ZINE" userId="ea1b4a29-24bb-4d1c-baed-be8d868458ab" providerId="ADAL" clId="{BD6DBAEA-0CB8-43C7-B50B-ADBAAB869F61}" dt="2024-05-14T12:24:37.094" v="69" actId="1076"/>
          <ac:spMkLst>
            <pc:docMk/>
            <pc:sldMk cId="2680212224" sldId="2147469304"/>
            <ac:spMk id="9" creationId="{C34B6790-9327-3DFA-F0F6-77D3F49939E1}"/>
          </ac:spMkLst>
        </pc:spChg>
      </pc:sldChg>
    </pc:docChg>
  </pc:docChgLst>
  <pc:docChgLst>
    <pc:chgData name="Abline, Anne-Hélène" userId="S::anne-helene.abline_accenture.com#ext#@esantegouv.onmicrosoft.com::a622c9a3-0707-4144-913e-1a5b899c8c22" providerId="AD" clId="Web-{5833C37F-7838-9238-EA90-CEA513067432}"/>
    <pc:docChg chg="addSld modSld modSection">
      <pc:chgData name="Abline, Anne-Hélène" userId="S::anne-helene.abline_accenture.com#ext#@esantegouv.onmicrosoft.com::a622c9a3-0707-4144-913e-1a5b899c8c22" providerId="AD" clId="Web-{5833C37F-7838-9238-EA90-CEA513067432}" dt="2024-05-13T15:17:03.020" v="389" actId="14100"/>
      <pc:docMkLst>
        <pc:docMk/>
      </pc:docMkLst>
      <pc:sldChg chg="addSp delSp modSp">
        <pc:chgData name="Abline, Anne-Hélène" userId="S::anne-helene.abline_accenture.com#ext#@esantegouv.onmicrosoft.com::a622c9a3-0707-4144-913e-1a5b899c8c22" providerId="AD" clId="Web-{5833C37F-7838-9238-EA90-CEA513067432}" dt="2024-05-13T15:11:50.989" v="85" actId="20577"/>
        <pc:sldMkLst>
          <pc:docMk/>
          <pc:sldMk cId="4166573253" sldId="2147469300"/>
        </pc:sldMkLst>
        <pc:spChg chg="add del mod">
          <ac:chgData name="Abline, Anne-Hélène" userId="S::anne-helene.abline_accenture.com#ext#@esantegouv.onmicrosoft.com::a622c9a3-0707-4144-913e-1a5b899c8c22" providerId="AD" clId="Web-{5833C37F-7838-9238-EA90-CEA513067432}" dt="2024-05-13T15:11:50.989" v="85" actId="20577"/>
          <ac:spMkLst>
            <pc:docMk/>
            <pc:sldMk cId="4166573253" sldId="2147469300"/>
            <ac:spMk id="2" creationId="{81034FD0-E502-4ADC-B3E0-25D3A6A44A6E}"/>
          </ac:spMkLst>
        </pc:spChg>
        <pc:spChg chg="mod">
          <ac:chgData name="Abline, Anne-Hélène" userId="S::anne-helene.abline_accenture.com#ext#@esantegouv.onmicrosoft.com::a622c9a3-0707-4144-913e-1a5b899c8c22" providerId="AD" clId="Web-{5833C37F-7838-9238-EA90-CEA513067432}" dt="2024-05-13T15:11:41.223" v="84" actId="20577"/>
          <ac:spMkLst>
            <pc:docMk/>
            <pc:sldMk cId="4166573253" sldId="2147469300"/>
            <ac:spMk id="3" creationId="{D8FAB1AE-A4A4-4729-92DB-5A988F6357B2}"/>
          </ac:spMkLst>
        </pc:spChg>
        <pc:spChg chg="del">
          <ac:chgData name="Abline, Anne-Hélène" userId="S::anne-helene.abline_accenture.com#ext#@esantegouv.onmicrosoft.com::a622c9a3-0707-4144-913e-1a5b899c8c22" providerId="AD" clId="Web-{5833C37F-7838-9238-EA90-CEA513067432}" dt="2024-05-13T15:09:27.786" v="16"/>
          <ac:spMkLst>
            <pc:docMk/>
            <pc:sldMk cId="4166573253" sldId="2147469300"/>
            <ac:spMk id="5" creationId="{84C95570-ABF8-41DD-A4D5-FBDC920F168D}"/>
          </ac:spMkLst>
        </pc:spChg>
        <pc:spChg chg="add mod">
          <ac:chgData name="Abline, Anne-Hélène" userId="S::anne-helene.abline_accenture.com#ext#@esantegouv.onmicrosoft.com::a622c9a3-0707-4144-913e-1a5b899c8c22" providerId="AD" clId="Web-{5833C37F-7838-9238-EA90-CEA513067432}" dt="2024-05-13T15:09:34.848" v="19" actId="20577"/>
          <ac:spMkLst>
            <pc:docMk/>
            <pc:sldMk cId="4166573253" sldId="2147469300"/>
            <ac:spMk id="8" creationId="{C7072A65-B785-6E57-E7B0-7F4E83134AB1}"/>
          </ac:spMkLst>
        </pc:spChg>
        <pc:spChg chg="add del mod">
          <ac:chgData name="Abline, Anne-Hélène" userId="S::anne-helene.abline_accenture.com#ext#@esantegouv.onmicrosoft.com::a622c9a3-0707-4144-913e-1a5b899c8c22" providerId="AD" clId="Web-{5833C37F-7838-9238-EA90-CEA513067432}" dt="2024-05-13T15:10:28.692" v="80"/>
          <ac:spMkLst>
            <pc:docMk/>
            <pc:sldMk cId="4166573253" sldId="2147469300"/>
            <ac:spMk id="10" creationId="{03288904-C15E-6E2F-7481-42C40CB634CC}"/>
          </ac:spMkLst>
        </pc:spChg>
      </pc:sldChg>
      <pc:sldChg chg="modSp">
        <pc:chgData name="Abline, Anne-Hélène" userId="S::anne-helene.abline_accenture.com#ext#@esantegouv.onmicrosoft.com::a622c9a3-0707-4144-913e-1a5b899c8c22" providerId="AD" clId="Web-{5833C37F-7838-9238-EA90-CEA513067432}" dt="2024-05-13T15:17:03.020" v="389" actId="14100"/>
        <pc:sldMkLst>
          <pc:docMk/>
          <pc:sldMk cId="1500867723" sldId="2147469301"/>
        </pc:sldMkLst>
        <pc:spChg chg="mod">
          <ac:chgData name="Abline, Anne-Hélène" userId="S::anne-helene.abline_accenture.com#ext#@esantegouv.onmicrosoft.com::a622c9a3-0707-4144-913e-1a5b899c8c22" providerId="AD" clId="Web-{5833C37F-7838-9238-EA90-CEA513067432}" dt="2024-05-13T15:12:17.723" v="99" actId="20577"/>
          <ac:spMkLst>
            <pc:docMk/>
            <pc:sldMk cId="1500867723" sldId="2147469301"/>
            <ac:spMk id="2" creationId="{B753C4EC-4183-1219-BA3D-386619CA834E}"/>
          </ac:spMkLst>
        </pc:spChg>
        <pc:spChg chg="mod">
          <ac:chgData name="Abline, Anne-Hélène" userId="S::anne-helene.abline_accenture.com#ext#@esantegouv.onmicrosoft.com::a622c9a3-0707-4144-913e-1a5b899c8c22" providerId="AD" clId="Web-{5833C37F-7838-9238-EA90-CEA513067432}" dt="2024-05-13T15:17:03.020" v="389" actId="14100"/>
          <ac:spMkLst>
            <pc:docMk/>
            <pc:sldMk cId="1500867723" sldId="2147469301"/>
            <ac:spMk id="5" creationId="{28F4B33F-3E7B-BE6D-A7AC-D7C011EC0EE9}"/>
          </ac:spMkLst>
        </pc:spChg>
      </pc:sldChg>
      <pc:sldChg chg="add replId">
        <pc:chgData name="Abline, Anne-Hélène" userId="S::anne-helene.abline_accenture.com#ext#@esantegouv.onmicrosoft.com::a622c9a3-0707-4144-913e-1a5b899c8c22" providerId="AD" clId="Web-{5833C37F-7838-9238-EA90-CEA513067432}" dt="2024-05-13T15:12:09.895" v="97"/>
        <pc:sldMkLst>
          <pc:docMk/>
          <pc:sldMk cId="2680212224" sldId="2147469304"/>
        </pc:sldMkLst>
      </pc:sldChg>
    </pc:docChg>
  </pc:docChgLst>
  <pc:docChgLst>
    <pc:chgData name="Abline, Anne-Hélène" userId="4775964d-18f9-43ef-92a1-5aebacbbf184" providerId="ADAL" clId="{7E8B12E7-0DB7-41B7-8598-F27908D9310A}"/>
    <pc:docChg chg="custSel addSld delSld modSld sldOrd modSection">
      <pc:chgData name="Abline, Anne-Hélène" userId="4775964d-18f9-43ef-92a1-5aebacbbf184" providerId="ADAL" clId="{7E8B12E7-0DB7-41B7-8598-F27908D9310A}" dt="2024-05-21T11:00:05.447" v="527" actId="20577"/>
      <pc:docMkLst>
        <pc:docMk/>
      </pc:docMkLst>
      <pc:sldChg chg="modSp mod">
        <pc:chgData name="Abline, Anne-Hélène" userId="4775964d-18f9-43ef-92a1-5aebacbbf184" providerId="ADAL" clId="{7E8B12E7-0DB7-41B7-8598-F27908D9310A}" dt="2024-05-21T11:00:05.447" v="527" actId="20577"/>
        <pc:sldMkLst>
          <pc:docMk/>
          <pc:sldMk cId="1500867723" sldId="2147469301"/>
        </pc:sldMkLst>
        <pc:spChg chg="mod">
          <ac:chgData name="Abline, Anne-Hélène" userId="4775964d-18f9-43ef-92a1-5aebacbbf184" providerId="ADAL" clId="{7E8B12E7-0DB7-41B7-8598-F27908D9310A}" dt="2024-05-21T11:00:05.447" v="527" actId="20577"/>
          <ac:spMkLst>
            <pc:docMk/>
            <pc:sldMk cId="1500867723" sldId="2147469301"/>
            <ac:spMk id="5" creationId="{28F4B33F-3E7B-BE6D-A7AC-D7C011EC0EE9}"/>
          </ac:spMkLst>
        </pc:spChg>
      </pc:sldChg>
      <pc:sldChg chg="modSp mod">
        <pc:chgData name="Abline, Anne-Hélène" userId="4775964d-18f9-43ef-92a1-5aebacbbf184" providerId="ADAL" clId="{7E8B12E7-0DB7-41B7-8598-F27908D9310A}" dt="2024-05-16T12:42:53.225" v="169" actId="20577"/>
        <pc:sldMkLst>
          <pc:docMk/>
          <pc:sldMk cId="2680212224" sldId="2147469304"/>
        </pc:sldMkLst>
        <pc:spChg chg="mod">
          <ac:chgData name="Abline, Anne-Hélène" userId="4775964d-18f9-43ef-92a1-5aebacbbf184" providerId="ADAL" clId="{7E8B12E7-0DB7-41B7-8598-F27908D9310A}" dt="2024-05-16T12:42:32.770" v="142" actId="20577"/>
          <ac:spMkLst>
            <pc:docMk/>
            <pc:sldMk cId="2680212224" sldId="2147469304"/>
            <ac:spMk id="2" creationId="{B753C4EC-4183-1219-BA3D-386619CA834E}"/>
          </ac:spMkLst>
        </pc:spChg>
        <pc:spChg chg="mod">
          <ac:chgData name="Abline, Anne-Hélène" userId="4775964d-18f9-43ef-92a1-5aebacbbf184" providerId="ADAL" clId="{7E8B12E7-0DB7-41B7-8598-F27908D9310A}" dt="2024-05-16T12:42:53.225" v="169" actId="20577"/>
          <ac:spMkLst>
            <pc:docMk/>
            <pc:sldMk cId="2680212224" sldId="2147469304"/>
            <ac:spMk id="5" creationId="{28F4B33F-3E7B-BE6D-A7AC-D7C011EC0EE9}"/>
          </ac:spMkLst>
        </pc:spChg>
      </pc:sldChg>
      <pc:sldChg chg="add del">
        <pc:chgData name="Abline, Anne-Hélène" userId="4775964d-18f9-43ef-92a1-5aebacbbf184" providerId="ADAL" clId="{7E8B12E7-0DB7-41B7-8598-F27908D9310A}" dt="2024-05-16T12:41:50.931" v="93" actId="47"/>
        <pc:sldMkLst>
          <pc:docMk/>
          <pc:sldMk cId="3212211790" sldId="2147469305"/>
        </pc:sldMkLst>
      </pc:sldChg>
      <pc:sldChg chg="add">
        <pc:chgData name="Abline, Anne-Hélène" userId="4775964d-18f9-43ef-92a1-5aebacbbf184" providerId="ADAL" clId="{7E8B12E7-0DB7-41B7-8598-F27908D9310A}" dt="2024-05-16T12:32:29.036" v="92"/>
        <pc:sldMkLst>
          <pc:docMk/>
          <pc:sldMk cId="4268102179" sldId="2147469306"/>
        </pc:sldMkLst>
      </pc:sldChg>
      <pc:sldChg chg="add">
        <pc:chgData name="Abline, Anne-Hélène" userId="4775964d-18f9-43ef-92a1-5aebacbbf184" providerId="ADAL" clId="{7E8B12E7-0DB7-41B7-8598-F27908D9310A}" dt="2024-05-16T12:32:29.036" v="92"/>
        <pc:sldMkLst>
          <pc:docMk/>
          <pc:sldMk cId="542078461" sldId="2147469307"/>
        </pc:sldMkLst>
      </pc:sldChg>
      <pc:sldChg chg="add">
        <pc:chgData name="Abline, Anne-Hélène" userId="4775964d-18f9-43ef-92a1-5aebacbbf184" providerId="ADAL" clId="{7E8B12E7-0DB7-41B7-8598-F27908D9310A}" dt="2024-05-16T12:32:29.036" v="92"/>
        <pc:sldMkLst>
          <pc:docMk/>
          <pc:sldMk cId="298844389" sldId="2147469308"/>
        </pc:sldMkLst>
      </pc:sldChg>
      <pc:sldChg chg="add">
        <pc:chgData name="Abline, Anne-Hélène" userId="4775964d-18f9-43ef-92a1-5aebacbbf184" providerId="ADAL" clId="{7E8B12E7-0DB7-41B7-8598-F27908D9310A}" dt="2024-05-16T12:32:29.036" v="92"/>
        <pc:sldMkLst>
          <pc:docMk/>
          <pc:sldMk cId="2856897973" sldId="2147469309"/>
        </pc:sldMkLst>
      </pc:sldChg>
      <pc:sldChg chg="addSp modSp add mod ord">
        <pc:chgData name="Abline, Anne-Hélène" userId="4775964d-18f9-43ef-92a1-5aebacbbf184" providerId="ADAL" clId="{7E8B12E7-0DB7-41B7-8598-F27908D9310A}" dt="2024-05-21T10:59:37.203" v="511" actId="20577"/>
        <pc:sldMkLst>
          <pc:docMk/>
          <pc:sldMk cId="1964455879" sldId="2147469310"/>
        </pc:sldMkLst>
        <pc:spChg chg="mod">
          <ac:chgData name="Abline, Anne-Hélène" userId="4775964d-18f9-43ef-92a1-5aebacbbf184" providerId="ADAL" clId="{7E8B12E7-0DB7-41B7-8598-F27908D9310A}" dt="2024-05-17T12:10:16.729" v="432" actId="20577"/>
          <ac:spMkLst>
            <pc:docMk/>
            <pc:sldMk cId="1964455879" sldId="2147469310"/>
            <ac:spMk id="2" creationId="{B753C4EC-4183-1219-BA3D-386619CA834E}"/>
          </ac:spMkLst>
        </pc:spChg>
        <pc:spChg chg="mod">
          <ac:chgData name="Abline, Anne-Hélène" userId="4775964d-18f9-43ef-92a1-5aebacbbf184" providerId="ADAL" clId="{7E8B12E7-0DB7-41B7-8598-F27908D9310A}" dt="2024-05-21T10:59:37.203" v="511" actId="20577"/>
          <ac:spMkLst>
            <pc:docMk/>
            <pc:sldMk cId="1964455879" sldId="2147469310"/>
            <ac:spMk id="5" creationId="{28F4B33F-3E7B-BE6D-A7AC-D7C011EC0EE9}"/>
          </ac:spMkLst>
        </pc:spChg>
        <pc:picChg chg="add mod">
          <ac:chgData name="Abline, Anne-Hélène" userId="4775964d-18f9-43ef-92a1-5aebacbbf184" providerId="ADAL" clId="{7E8B12E7-0DB7-41B7-8598-F27908D9310A}" dt="2024-05-17T12:12:49.398" v="493" actId="1035"/>
          <ac:picMkLst>
            <pc:docMk/>
            <pc:sldMk cId="1964455879" sldId="2147469310"/>
            <ac:picMk id="1026" creationId="{C2DA29E6-122D-6EDA-F36A-8C2ADF16B909}"/>
          </ac:picMkLst>
        </pc:picChg>
        <pc:picChg chg="add mod">
          <ac:chgData name="Abline, Anne-Hélène" userId="4775964d-18f9-43ef-92a1-5aebacbbf184" providerId="ADAL" clId="{7E8B12E7-0DB7-41B7-8598-F27908D9310A}" dt="2024-05-17T12:12:43.650" v="479" actId="1035"/>
          <ac:picMkLst>
            <pc:docMk/>
            <pc:sldMk cId="1964455879" sldId="2147469310"/>
            <ac:picMk id="1028" creationId="{69A506B5-9FEB-37B1-979C-986FDB270CC7}"/>
          </ac:picMkLst>
        </pc:picChg>
        <pc:picChg chg="add mod">
          <ac:chgData name="Abline, Anne-Hélène" userId="4775964d-18f9-43ef-92a1-5aebacbbf184" providerId="ADAL" clId="{7E8B12E7-0DB7-41B7-8598-F27908D9310A}" dt="2024-05-17T12:13:13.838" v="499" actId="1076"/>
          <ac:picMkLst>
            <pc:docMk/>
            <pc:sldMk cId="1964455879" sldId="2147469310"/>
            <ac:picMk id="1030" creationId="{7618A195-B30E-B7AA-4E2E-BB6416FCAFA1}"/>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93DC9BBC-39D3-4D57-9800-DD776C5455B1}" type="datetime3">
              <a:rPr lang="fr-FR" smtClean="0"/>
              <a:t>27.05.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N°›</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fr-FR"/>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7BDCCF66-9719-4439-847D-0E6AFC7F53C5}" type="datetime3">
              <a:rPr lang="fr-FR" smtClean="0"/>
              <a:t>27.05.24</a:t>
            </a:fld>
            <a:endParaRPr lang="fr-FR"/>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fr-FR"/>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fr-FR" smtClean="0"/>
              <a:pPr/>
              <a:t>‹N°›</a:t>
            </a:fld>
            <a:endParaRPr lang="fr-FR"/>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4089741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3884160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41212652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968724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2018156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24966257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2521248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1574673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13D52-09E5-B35F-24DC-4E89C519E5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A48A3-F9C4-4738-003B-1F1D689B51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91B32D57-356B-9DEF-09BE-ED7089B43CD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0EC966-468C-4B95-4435-93C5DD755C1B}"/>
              </a:ext>
            </a:extLst>
          </p:cNvPr>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11765177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8.png"/><Relationship Id="rId4" Type="http://schemas.openxmlformats.org/officeDocument/2006/relationships/tags" Target="../tags/tag81.xml"/><Relationship Id="rId9"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6.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90.xml"/><Relationship Id="rId7" Type="http://schemas.openxmlformats.org/officeDocument/2006/relationships/image" Target="../media/image2.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91.xml"/><Relationship Id="rId9"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4.xml"/><Relationship Id="rId7" Type="http://schemas.openxmlformats.org/officeDocument/2006/relationships/oleObject" Target="../embeddings/oleObject15.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slideMaster" Target="../slideMasters/slideMaster2.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9.xml"/><Relationship Id="rId7" Type="http://schemas.openxmlformats.org/officeDocument/2006/relationships/image" Target="../media/image12.jpe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2.xml"/><Relationship Id="rId5" Type="http://schemas.openxmlformats.org/officeDocument/2006/relationships/tags" Target="../tags/tag121.xml"/><Relationship Id="rId10" Type="http://schemas.openxmlformats.org/officeDocument/2006/relationships/image" Target="../media/image11.png"/><Relationship Id="rId4" Type="http://schemas.openxmlformats.org/officeDocument/2006/relationships/tags" Target="../tags/tag120.xml"/><Relationship Id="rId9"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24.xml"/><Relationship Id="rId7" Type="http://schemas.openxmlformats.org/officeDocument/2006/relationships/slideMaster" Target="../slideMasters/slideMaster2.xml"/><Relationship Id="rId12" Type="http://schemas.openxmlformats.org/officeDocument/2006/relationships/image" Target="../media/image7.jpe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image" Target="../media/image6.png"/><Relationship Id="rId5" Type="http://schemas.openxmlformats.org/officeDocument/2006/relationships/tags" Target="../tags/tag126.xml"/><Relationship Id="rId10" Type="http://schemas.openxmlformats.org/officeDocument/2006/relationships/image" Target="../media/image5.png"/><Relationship Id="rId4" Type="http://schemas.openxmlformats.org/officeDocument/2006/relationships/tags" Target="../tags/tag125.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30.xml"/><Relationship Id="rId7"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6.xml"/><Relationship Id="rId7" Type="http://schemas.openxmlformats.org/officeDocument/2006/relationships/oleObject" Target="../embeddings/oleObject19.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2.xml"/><Relationship Id="rId5" Type="http://schemas.openxmlformats.org/officeDocument/2006/relationships/tags" Target="../tags/tag138.xml"/><Relationship Id="rId4" Type="http://schemas.openxmlformats.org/officeDocument/2006/relationships/tags" Target="../tags/tag137.xm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1.xml"/><Relationship Id="rId7" Type="http://schemas.openxmlformats.org/officeDocument/2006/relationships/oleObject" Target="../embeddings/oleObject20.bin"/><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slideMaster" Target="../slideMasters/slideMaster2.xml"/><Relationship Id="rId5" Type="http://schemas.openxmlformats.org/officeDocument/2006/relationships/tags" Target="../tags/tag143.xml"/><Relationship Id="rId4" Type="http://schemas.openxmlformats.org/officeDocument/2006/relationships/tags" Target="../tags/tag142.xml"/><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9.xml"/><Relationship Id="rId7" Type="http://schemas.openxmlformats.org/officeDocument/2006/relationships/image" Target="../media/image4.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10" Type="http://schemas.openxmlformats.org/officeDocument/2006/relationships/image" Target="../media/image3.png"/><Relationship Id="rId4" Type="http://schemas.openxmlformats.org/officeDocument/2006/relationships/tags" Target="../tags/tag30.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6.xml"/><Relationship Id="rId7" Type="http://schemas.openxmlformats.org/officeDocument/2006/relationships/oleObject" Target="../embeddings/oleObject21.bin"/><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Master" Target="../slideMasters/slideMaster2.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51.xml"/><Relationship Id="rId7"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5.png"/><Relationship Id="rId4" Type="http://schemas.openxmlformats.org/officeDocument/2006/relationships/tags" Target="../tags/tag152.xml"/><Relationship Id="rId9"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57.xml"/><Relationship Id="rId7"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10" Type="http://schemas.openxmlformats.org/officeDocument/2006/relationships/image" Target="../media/image5.png"/><Relationship Id="rId4" Type="http://schemas.openxmlformats.org/officeDocument/2006/relationships/tags" Target="../tags/tag158.xml"/><Relationship Id="rId9"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63.xml"/><Relationship Id="rId7"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5.png"/><Relationship Id="rId4" Type="http://schemas.openxmlformats.org/officeDocument/2006/relationships/tags" Target="../tags/tag164.xml"/><Relationship Id="rId9"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9.xml"/><Relationship Id="rId7" Type="http://schemas.openxmlformats.org/officeDocument/2006/relationships/oleObject" Target="../embeddings/oleObject25.bin"/><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slideMaster" Target="../slideMasters/slideMaster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5.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77.xml"/><Relationship Id="rId7" Type="http://schemas.openxmlformats.org/officeDocument/2006/relationships/image" Target="../media/image2.emf"/><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178.xml"/><Relationship Id="rId9"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6.xml"/><Relationship Id="rId3" Type="http://schemas.openxmlformats.org/officeDocument/2006/relationships/tags" Target="../tags/tag181.xml"/><Relationship Id="rId7" Type="http://schemas.openxmlformats.org/officeDocument/2006/relationships/tags" Target="../tags/tag185.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9.emf"/><Relationship Id="rId5" Type="http://schemas.openxmlformats.org/officeDocument/2006/relationships/tags" Target="../tags/tag183.xml"/><Relationship Id="rId10" Type="http://schemas.openxmlformats.org/officeDocument/2006/relationships/oleObject" Target="../embeddings/oleObject28.bin"/><Relationship Id="rId4" Type="http://schemas.openxmlformats.org/officeDocument/2006/relationships/tags" Target="../tags/tag18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1.emf"/><Relationship Id="rId4" Type="http://schemas.openxmlformats.org/officeDocument/2006/relationships/tags" Target="../tags/tag190.xml"/><Relationship Id="rId9"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image" Target="../media/image1.emf"/><Relationship Id="rId4" Type="http://schemas.openxmlformats.org/officeDocument/2006/relationships/tags" Target="../tags/tag197.xml"/><Relationship Id="rId9"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image" Target="../media/image7.jpe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image" Target="../media/image5.pn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2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8.png"/><Relationship Id="rId4" Type="http://schemas.openxmlformats.org/officeDocument/2006/relationships/tags" Target="../tags/tag42.xml"/><Relationship Id="rId9"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2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8.png"/><Relationship Id="rId4" Type="http://schemas.openxmlformats.org/officeDocument/2006/relationships/tags" Target="../tags/tag48.xml"/><Relationship Id="rId9"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3.xml"/><Relationship Id="rId7" Type="http://schemas.openxmlformats.org/officeDocument/2006/relationships/slideMaster" Target="../slideMasters/slideMaster1.xml"/><Relationship Id="rId12" Type="http://schemas.openxmlformats.org/officeDocument/2006/relationships/image" Target="../media/image7.jpe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image" Target="../media/image6.png"/><Relationship Id="rId5" Type="http://schemas.openxmlformats.org/officeDocument/2006/relationships/tags" Target="../tags/tag55.xml"/><Relationship Id="rId10" Type="http://schemas.openxmlformats.org/officeDocument/2006/relationships/image" Target="../media/image5.png"/><Relationship Id="rId4" Type="http://schemas.openxmlformats.org/officeDocument/2006/relationships/tags" Target="../tags/tag54.xml"/><Relationship Id="rId9"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image" Target="../media/image8.png"/><Relationship Id="rId5" Type="http://schemas.openxmlformats.org/officeDocument/2006/relationships/tags" Target="../tags/tag61.xml"/><Relationship Id="rId10" Type="http://schemas.openxmlformats.org/officeDocument/2006/relationships/image" Target="../media/image2.emf"/><Relationship Id="rId4" Type="http://schemas.openxmlformats.org/officeDocument/2006/relationships/tags" Target="../tags/tag60.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8.png"/><Relationship Id="rId5" Type="http://schemas.openxmlformats.org/officeDocument/2006/relationships/tags" Target="../tags/tag68.xml"/><Relationship Id="rId10" Type="http://schemas.openxmlformats.org/officeDocument/2006/relationships/image" Target="../media/image9.emf"/><Relationship Id="rId4" Type="http://schemas.openxmlformats.org/officeDocument/2006/relationships/tags" Target="../tags/tag67.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image" Target="../media/image8.png"/><Relationship Id="rId5" Type="http://schemas.openxmlformats.org/officeDocument/2006/relationships/tags" Target="../tags/tag75.xml"/><Relationship Id="rId10" Type="http://schemas.openxmlformats.org/officeDocument/2006/relationships/image" Target="../media/image1.emf"/><Relationship Id="rId4" Type="http://schemas.openxmlformats.org/officeDocument/2006/relationships/tags" Target="../tags/tag74.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86975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8" name="Image 1">
            <a:extLst>
              <a:ext uri="{FF2B5EF4-FFF2-40B4-BE49-F238E27FC236}">
                <a16:creationId xmlns:a16="http://schemas.microsoft.com/office/drawing/2014/main" id="{DC4F8B53-E9B3-4719-8C90-880C9BBD9B2F}"/>
              </a:ext>
            </a:extLst>
          </p:cNvPr>
          <p:cNvPicPr>
            <a:picLocks/>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200" y="315895"/>
            <a:ext cx="2438909" cy="1898995"/>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86446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884682"/>
            <a:ext cx="9697339" cy="384721"/>
          </a:xfrm>
        </p:spPr>
        <p:txBody>
          <a:bodyPr wrap="square">
            <a:noAutofit/>
          </a:bodyPr>
          <a:lstStyle>
            <a:lvl1pPr>
              <a:defRPr/>
            </a:lvl1pPr>
          </a:lstStyle>
          <a:p>
            <a:r>
              <a:rPr lang="en-US"/>
              <a:t>Click to edit Master title style</a:t>
            </a:r>
            <a:endParaRPr lang="fr-F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2" name="Rectangle 11">
            <a:extLst>
              <a:ext uri="{FF2B5EF4-FFF2-40B4-BE49-F238E27FC236}">
                <a16:creationId xmlns:a16="http://schemas.microsoft.com/office/drawing/2014/main" id="{537D3934-9881-47CB-9F3F-52B20FB723EA}"/>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3" name="Slide Number">
            <a:extLst>
              <a:ext uri="{FF2B5EF4-FFF2-40B4-BE49-F238E27FC236}">
                <a16:creationId xmlns:a16="http://schemas.microsoft.com/office/drawing/2014/main" id="{6E00A51F-BAB5-4E2F-8F8F-B8655162D386}"/>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F597243-D2CB-4FF3-ABBF-573AD9425AB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6" name="Image 1">
            <a:extLst>
              <a:ext uri="{FF2B5EF4-FFF2-40B4-BE49-F238E27FC236}">
                <a16:creationId xmlns:a16="http://schemas.microsoft.com/office/drawing/2014/main" id="{B2C22453-EA85-41AB-83F5-B5FE5ABF0C17}"/>
              </a:ext>
            </a:extLst>
          </p:cNvPr>
          <p:cNvPicPr>
            <a:picLocks/>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8" name="Straight Connector 17">
            <a:extLst>
              <a:ext uri="{FF2B5EF4-FFF2-40B4-BE49-F238E27FC236}">
                <a16:creationId xmlns:a16="http://schemas.microsoft.com/office/drawing/2014/main" id="{75BADCBC-553E-4CE5-8A13-806DE45F5F3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49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54515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6" name="Rectangle 5">
            <a:extLst>
              <a:ext uri="{FF2B5EF4-FFF2-40B4-BE49-F238E27FC236}">
                <a16:creationId xmlns:a16="http://schemas.microsoft.com/office/drawing/2014/main" id="{9C690A15-D7BB-473E-A312-7E2EEFF2A62F}"/>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3"/>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2" name="Image 1">
            <a:extLst>
              <a:ext uri="{FF2B5EF4-FFF2-40B4-BE49-F238E27FC236}">
                <a16:creationId xmlns:a16="http://schemas.microsoft.com/office/drawing/2014/main" id="{0BC00C92-486C-4E1B-AC09-1E38522A6170}"/>
              </a:ext>
            </a:extLst>
          </p:cNvPr>
          <p:cNvPicPr>
            <a:picLocks/>
          </p:cNvPicPr>
          <p:nvPr userDrawn="1"/>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00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948018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D9ED89F-9CA7-4657-BAC6-99C6DEDCDEE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err="1">
              <a:solidFill>
                <a:schemeClr val="bg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969D8104-3A5A-4999-BABF-2151493C4A59}"/>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2C12EC54-3479-4471-BF1F-FEAE8DC2D330}"/>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pic>
        <p:nvPicPr>
          <p:cNvPr id="9" name="Image 1">
            <a:extLst>
              <a:ext uri="{FF2B5EF4-FFF2-40B4-BE49-F238E27FC236}">
                <a16:creationId xmlns:a16="http://schemas.microsoft.com/office/drawing/2014/main" id="{FE6110AF-81C4-44CB-9F12-DF5AA5AB2745}"/>
              </a:ext>
            </a:extLst>
          </p:cNvPr>
          <p:cNvPicPr>
            <a:picLocks/>
          </p:cNvPicPr>
          <p:nvPr userDrawn="1"/>
        </p:nvPicPr>
        <p:blipFill>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sp>
        <p:nvSpPr>
          <p:cNvPr id="12" name="2. Slide Title">
            <a:extLst>
              <a:ext uri="{FF2B5EF4-FFF2-40B4-BE49-F238E27FC236}">
                <a16:creationId xmlns:a16="http://schemas.microsoft.com/office/drawing/2014/main" id="{D30F2402-9248-44B8-858E-D5786CBEDB9A}"/>
              </a:ext>
            </a:extLst>
          </p:cNvPr>
          <p:cNvSpPr>
            <a:spLocks noGrp="1"/>
          </p:cNvSpPr>
          <p:nvPr>
            <p:ph type="title"/>
            <p:custDataLst>
              <p:tags r:id="rId3"/>
            </p:custDataLst>
          </p:nvPr>
        </p:nvSpPr>
        <p:spPr>
          <a:xfrm>
            <a:off x="3472544" y="5330229"/>
            <a:ext cx="8362950" cy="677108"/>
          </a:xfrm>
        </p:spPr>
        <p:txBody>
          <a:bodyPr wrap="square" anchor="b">
            <a:spAutoFit/>
          </a:bodyPr>
          <a:lstStyle>
            <a:lvl1pPr>
              <a:lnSpc>
                <a:spcPct val="100000"/>
              </a:lnSpc>
              <a:defRPr sz="4400">
                <a:solidFill>
                  <a:schemeClr val="accent3"/>
                </a:solidFill>
              </a:defRPr>
            </a:lvl1pPr>
          </a:lstStyle>
          <a:p>
            <a:r>
              <a:rPr lang="en-US"/>
              <a:t>Click to edit Master title style</a:t>
            </a:r>
            <a:endParaRPr lang="fr-FR"/>
          </a:p>
        </p:txBody>
      </p:sp>
      <p:sp>
        <p:nvSpPr>
          <p:cNvPr id="15" name="Graphic 13">
            <a:extLst>
              <a:ext uri="{FF2B5EF4-FFF2-40B4-BE49-F238E27FC236}">
                <a16:creationId xmlns:a16="http://schemas.microsoft.com/office/drawing/2014/main" id="{DD80D20C-0D32-4C53-900B-4296B6CA2B98}"/>
              </a:ext>
            </a:extLst>
          </p:cNvPr>
          <p:cNvSpPr/>
          <p:nvPr/>
        </p:nvSpPr>
        <p:spPr>
          <a:xfrm flipH="1">
            <a:off x="31146" y="4685060"/>
            <a:ext cx="5988654" cy="1493869"/>
          </a:xfrm>
          <a:custGeom>
            <a:avLst/>
            <a:gdLst>
              <a:gd name="connsiteX0" fmla="*/ 8357420 w 8357419"/>
              <a:gd name="connsiteY0" fmla="*/ 2084758 h 2084757"/>
              <a:gd name="connsiteX1" fmla="*/ 6555658 w 8357419"/>
              <a:gd name="connsiteY1" fmla="*/ 1200167 h 2084757"/>
              <a:gd name="connsiteX2" fmla="*/ 4186998 w 8357419"/>
              <a:gd name="connsiteY2" fmla="*/ 32559 h 2084757"/>
              <a:gd name="connsiteX3" fmla="*/ 5737118 w 8357419"/>
              <a:gd name="connsiteY3" fmla="*/ 998858 h 2084757"/>
              <a:gd name="connsiteX4" fmla="*/ 6537619 w 8357419"/>
              <a:gd name="connsiteY4" fmla="*/ 1244448 h 2084757"/>
              <a:gd name="connsiteX5" fmla="*/ 5743713 w 8357419"/>
              <a:gd name="connsiteY5" fmla="*/ 1046704 h 2084757"/>
              <a:gd name="connsiteX6" fmla="*/ 5435513 w 8357419"/>
              <a:gd name="connsiteY6" fmla="*/ 1594463 h 2084757"/>
              <a:gd name="connsiteX7" fmla="*/ 5490922 w 8357419"/>
              <a:gd name="connsiteY7" fmla="*/ 1003977 h 2084757"/>
              <a:gd name="connsiteX8" fmla="*/ 4144758 w 8357419"/>
              <a:gd name="connsiteY8" fmla="*/ 62548 h 2084757"/>
              <a:gd name="connsiteX9" fmla="*/ 4055306 w 8357419"/>
              <a:gd name="connsiteY9" fmla="*/ 0 h 2084757"/>
              <a:gd name="connsiteX10" fmla="*/ 4407522 w 8357419"/>
              <a:gd name="connsiteY10" fmla="*/ 1266406 h 2084757"/>
              <a:gd name="connsiteX11" fmla="*/ 5447491 w 8357419"/>
              <a:gd name="connsiteY11" fmla="*/ 1021200 h 2084757"/>
              <a:gd name="connsiteX12" fmla="*/ 5401456 w 8357419"/>
              <a:gd name="connsiteY12" fmla="*/ 1569272 h 2084757"/>
              <a:gd name="connsiteX13" fmla="*/ 5057124 w 8357419"/>
              <a:gd name="connsiteY13" fmla="*/ 1156611 h 2084757"/>
              <a:gd name="connsiteX14" fmla="*/ 4421772 w 8357419"/>
              <a:gd name="connsiteY14" fmla="*/ 1306773 h 2084757"/>
              <a:gd name="connsiteX15" fmla="*/ 4655612 w 8357419"/>
              <a:gd name="connsiteY15" fmla="*/ 2083546 h 2084757"/>
              <a:gd name="connsiteX16" fmla="*/ 0 w 8357419"/>
              <a:gd name="connsiteY16" fmla="*/ 2084758 h 208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57419" h="2084757">
                <a:moveTo>
                  <a:pt x="8357420" y="2084758"/>
                </a:moveTo>
                <a:lnTo>
                  <a:pt x="6555658" y="1200167"/>
                </a:lnTo>
                <a:lnTo>
                  <a:pt x="4186998" y="32559"/>
                </a:lnTo>
                <a:lnTo>
                  <a:pt x="5737118" y="998858"/>
                </a:lnTo>
                <a:lnTo>
                  <a:pt x="6537619" y="1244448"/>
                </a:lnTo>
                <a:lnTo>
                  <a:pt x="5743713" y="1046704"/>
                </a:lnTo>
                <a:lnTo>
                  <a:pt x="5435513" y="1594463"/>
                </a:lnTo>
                <a:lnTo>
                  <a:pt x="5490922" y="1003977"/>
                </a:lnTo>
                <a:lnTo>
                  <a:pt x="4144758" y="62548"/>
                </a:lnTo>
                <a:lnTo>
                  <a:pt x="4055306" y="0"/>
                </a:lnTo>
                <a:lnTo>
                  <a:pt x="4407522" y="1266406"/>
                </a:lnTo>
                <a:lnTo>
                  <a:pt x="5447491" y="1021200"/>
                </a:lnTo>
                <a:lnTo>
                  <a:pt x="5401456" y="1569272"/>
                </a:lnTo>
                <a:lnTo>
                  <a:pt x="5057124" y="1156611"/>
                </a:lnTo>
                <a:lnTo>
                  <a:pt x="4421772" y="1306773"/>
                </a:lnTo>
                <a:lnTo>
                  <a:pt x="4655612" y="2083546"/>
                </a:lnTo>
                <a:lnTo>
                  <a:pt x="0" y="2084758"/>
                </a:lnTo>
              </a:path>
            </a:pathLst>
          </a:custGeom>
          <a:noFill/>
          <a:ln w="25400" cap="flat">
            <a:solidFill>
              <a:schemeClr val="accent3"/>
            </a:solidFill>
            <a:prstDash val="solid"/>
            <a:miter/>
          </a:ln>
        </p:spPr>
        <p:txBody>
          <a:bodyPr rtlCol="0" anchor="ctr"/>
          <a:lstStyle/>
          <a:p>
            <a:endParaRPr lang="fr-FR"/>
          </a:p>
        </p:txBody>
      </p:sp>
      <p:cxnSp>
        <p:nvCxnSpPr>
          <p:cNvPr id="17" name="Straight Connector 16">
            <a:extLst>
              <a:ext uri="{FF2B5EF4-FFF2-40B4-BE49-F238E27FC236}">
                <a16:creationId xmlns:a16="http://schemas.microsoft.com/office/drawing/2014/main" id="{ACE94E2C-A6E1-49EE-9B41-5D3E4488E369}"/>
              </a:ext>
            </a:extLst>
          </p:cNvPr>
          <p:cNvCxnSpPr/>
          <p:nvPr userDrawn="1"/>
        </p:nvCxnSpPr>
        <p:spPr>
          <a:xfrm>
            <a:off x="4267200" y="6178929"/>
            <a:ext cx="7924800" cy="0"/>
          </a:xfrm>
          <a:prstGeom prst="line">
            <a:avLst/>
          </a:prstGeom>
          <a:ln w="254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5. Source" hidden="1">
            <a:extLst>
              <a:ext uri="{FF2B5EF4-FFF2-40B4-BE49-F238E27FC236}">
                <a16:creationId xmlns:a16="http://schemas.microsoft.com/office/drawing/2014/main" id="{18F325DE-8CF4-477C-8613-28EBE0F31C6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Tree>
    <p:extLst>
      <p:ext uri="{BB962C8B-B14F-4D97-AF65-F5344CB8AC3E}">
        <p14:creationId xmlns:p14="http://schemas.microsoft.com/office/powerpoint/2010/main" val="466470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1067"/>
            </a:lvl1pPr>
          </a:lstStyle>
          <a:p>
            <a:endParaRPr lang="fr-FR">
              <a:latin typeface="Arial"/>
              <a:ea typeface="+mn-ea"/>
            </a:endParaRP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8026740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0"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24375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8" name="Image 1">
            <a:extLst>
              <a:ext uri="{FF2B5EF4-FFF2-40B4-BE49-F238E27FC236}">
                <a16:creationId xmlns:a16="http://schemas.microsoft.com/office/drawing/2014/main" id="{DC4F8B53-E9B3-4719-8C90-880C9BBD9B2F}"/>
              </a:ext>
            </a:extLst>
          </p:cNvPr>
          <p:cNvPicPr>
            <a:picLocks/>
          </p:cNvPicPr>
          <p:nvPr userDrawn="1"/>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200" y="315895"/>
            <a:ext cx="2438909" cy="1898995"/>
          </a:xfrm>
          <a:prstGeom prst="rect">
            <a:avLst/>
          </a:prstGeom>
        </p:spPr>
      </p:pic>
    </p:spTree>
    <p:extLst>
      <p:ext uri="{BB962C8B-B14F-4D97-AF65-F5344CB8AC3E}">
        <p14:creationId xmlns:p14="http://schemas.microsoft.com/office/powerpoint/2010/main" val="2548189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02">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F14C40-A1A3-4006-ADC7-BE0895E325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0"/>
            <a:ext cx="12192000" cy="6858460"/>
          </a:xfrm>
          <a:prstGeom prst="rect">
            <a:avLst/>
          </a:prstGeom>
        </p:spPr>
      </p:pic>
      <p:sp>
        <p:nvSpPr>
          <p:cNvPr id="6" name="Rectangle 5">
            <a:extLst>
              <a:ext uri="{FF2B5EF4-FFF2-40B4-BE49-F238E27FC236}">
                <a16:creationId xmlns:a16="http://schemas.microsoft.com/office/drawing/2014/main" id="{3E5F193C-E268-4733-AD80-A691EB7202AB}"/>
              </a:ext>
            </a:extLst>
          </p:cNvPr>
          <p:cNvSpPr/>
          <p:nvPr userDrawn="1"/>
        </p:nvSpPr>
        <p:spPr>
          <a:xfrm>
            <a:off x="2933700" y="2381251"/>
            <a:ext cx="9258299" cy="4476750"/>
          </a:xfrm>
          <a:prstGeom prst="rect">
            <a:avLst/>
          </a:prstGeom>
          <a:solidFill>
            <a:schemeClr val="tx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261649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3332609" y="5710318"/>
            <a:ext cx="8420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1400" dirty="0">
                <a:solidFill>
                  <a:schemeClr val="tx1"/>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3333750" y="4816459"/>
            <a:ext cx="8420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2000" dirty="0">
                <a:solidFill>
                  <a:schemeClr val="tx1"/>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3333750" y="3341196"/>
            <a:ext cx="84201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fr-FR" sz="4400" cap="all" baseline="0" dirty="0">
                <a:solidFill>
                  <a:schemeClr val="accent3"/>
                </a:solidFill>
              </a:defRPr>
            </a:lvl1pPr>
          </a:lstStyle>
          <a:p>
            <a:pPr lvl="0"/>
            <a:r>
              <a:rPr lang="en-US"/>
              <a:t>Click to edit Master title style</a:t>
            </a:r>
            <a:endParaRPr lang="fr-FR"/>
          </a:p>
        </p:txBody>
      </p:sp>
      <p:pic>
        <p:nvPicPr>
          <p:cNvPr id="8" name="Image 1">
            <a:extLst>
              <a:ext uri="{FF2B5EF4-FFF2-40B4-BE49-F238E27FC236}">
                <a16:creationId xmlns:a16="http://schemas.microsoft.com/office/drawing/2014/main" id="{DC4F8B53-E9B3-4719-8C90-880C9BBD9B2F}"/>
              </a:ext>
            </a:extLst>
          </p:cNvPr>
          <p:cNvPicPr>
            <a:picLocks/>
          </p:cNvPicPr>
          <p:nvPr userDrawn="1"/>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200" y="315895"/>
            <a:ext cx="2438909" cy="1898995"/>
          </a:xfrm>
          <a:prstGeom prst="rect">
            <a:avLst/>
          </a:prstGeom>
        </p:spPr>
      </p:pic>
    </p:spTree>
    <p:extLst>
      <p:ext uri="{BB962C8B-B14F-4D97-AF65-F5344CB8AC3E}">
        <p14:creationId xmlns:p14="http://schemas.microsoft.com/office/powerpoint/2010/main" val="2619229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3039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1" dirty="0">
                <a:solidFill>
                  <a:schemeClr val="accent3"/>
                </a:solidFill>
              </a:defRPr>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A288F9C-C929-40D8-95CB-095D39BF2EDE}"/>
              </a:ext>
            </a:extLst>
          </p:cNvPr>
          <p:cNvGrpSpPr/>
          <p:nvPr userDrawn="1"/>
        </p:nvGrpSpPr>
        <p:grpSpPr>
          <a:xfrm>
            <a:off x="9103464" y="33039"/>
            <a:ext cx="3007663" cy="466922"/>
            <a:chOff x="4552730" y="6271009"/>
            <a:chExt cx="3007663" cy="466922"/>
          </a:xfrm>
        </p:grpSpPr>
        <p:pic>
          <p:nvPicPr>
            <p:cNvPr id="21" name="Image 1">
              <a:extLst>
                <a:ext uri="{FF2B5EF4-FFF2-40B4-BE49-F238E27FC236}">
                  <a16:creationId xmlns:a16="http://schemas.microsoft.com/office/drawing/2014/main" id="{8B75DD00-E94C-408D-8DCE-334EDCADDF4D}"/>
                </a:ext>
              </a:extLst>
            </p:cNvPr>
            <p:cNvPicPr>
              <a:picLocks/>
            </p:cNvPicPr>
            <p:nvPr userDrawn="1"/>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l="7375" t="11504" r="7397" b="8443"/>
            <a:stretch/>
          </p:blipFill>
          <p:spPr>
            <a:xfrm>
              <a:off x="5749413" y="6271009"/>
              <a:ext cx="693174" cy="466922"/>
            </a:xfrm>
            <a:prstGeom prst="rect">
              <a:avLst/>
            </a:prstGeom>
          </p:spPr>
        </p:pic>
        <p:pic>
          <p:nvPicPr>
            <p:cNvPr id="22" name="Image 15">
              <a:extLst>
                <a:ext uri="{FF2B5EF4-FFF2-40B4-BE49-F238E27FC236}">
                  <a16:creationId xmlns:a16="http://schemas.microsoft.com/office/drawing/2014/main" id="{B4FF084E-315C-4D18-8D1A-54ACADD8B36E}"/>
                </a:ext>
              </a:extLst>
            </p:cNvPr>
            <p:cNvPicPr>
              <a:picLocks noChangeAspect="1"/>
            </p:cNvPicPr>
            <p:nvPr userDrawn="1"/>
          </p:nvPicPr>
          <p:blipFill rotWithShape="1">
            <a:blip r:embed="rId11" cstate="print"/>
            <a:srcRect t="11816" b="-1"/>
            <a:stretch/>
          </p:blipFill>
          <p:spPr>
            <a:xfrm>
              <a:off x="4552730" y="6372335"/>
              <a:ext cx="960188" cy="264269"/>
            </a:xfrm>
            <a:prstGeom prst="rect">
              <a:avLst/>
            </a:prstGeom>
          </p:spPr>
        </p:pic>
        <p:pic>
          <p:nvPicPr>
            <p:cNvPr id="23" name="Picture 2" descr="Agence du Numérique en Santé (ANS) | G_NIUS">
              <a:extLst>
                <a:ext uri="{FF2B5EF4-FFF2-40B4-BE49-F238E27FC236}">
                  <a16:creationId xmlns:a16="http://schemas.microsoft.com/office/drawing/2014/main" id="{E0FE5AE4-0656-4B75-8329-2126BC43B51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11750" t="34545" r="12000" b="35000"/>
            <a:stretch/>
          </p:blipFill>
          <p:spPr bwMode="auto">
            <a:xfrm>
              <a:off x="6679082" y="6328897"/>
              <a:ext cx="881311" cy="19359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761454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529535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2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2056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endParaRPr lang="fr-FR"/>
          </a:p>
        </p:txBody>
      </p:sp>
      <p:sp>
        <p:nvSpPr>
          <p:cNvPr id="8" name="Rectangle 7">
            <a:extLst>
              <a:ext uri="{FF2B5EF4-FFF2-40B4-BE49-F238E27FC236}">
                <a16:creationId xmlns:a16="http://schemas.microsoft.com/office/drawing/2014/main" id="{DD74AAB3-7E91-4C95-A8E0-ED8A1D8973B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CA8CFFB9-B451-4FA2-B50D-BE8D26AFB40E}"/>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E60F8CD6-D954-4852-A01C-8EE78D7BCD9D}"/>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51E9A3AF-4090-4EF4-B563-8D0477B8CE71}"/>
              </a:ext>
            </a:extLst>
          </p:cNvPr>
          <p:cNvPicPr>
            <a:picLocks/>
          </p:cNvPicPr>
          <p:nvPr userDrawn="1"/>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6" name="Straight Connector 15">
            <a:extLst>
              <a:ext uri="{FF2B5EF4-FFF2-40B4-BE49-F238E27FC236}">
                <a16:creationId xmlns:a16="http://schemas.microsoft.com/office/drawing/2014/main" id="{1BA12C34-29EE-43F5-92CC-2CB2B2F15E9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3897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31482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wrap="square" rIns="365760" anchor="ctr">
            <a:spAutoFit/>
          </a:bodyPr>
          <a:lstStyle>
            <a:lvl1pPr>
              <a:defRPr>
                <a:ln w="6350" cap="flat">
                  <a:noFill/>
                  <a:miter lim="800000"/>
                </a:ln>
              </a:defRPr>
            </a:lvl1pPr>
          </a:lstStyle>
          <a:p>
            <a:r>
              <a:rPr lang="en-US"/>
              <a:t>Click to edit Master title style</a:t>
            </a:r>
            <a:endParaRPr lang="fr-FR"/>
          </a:p>
        </p:txBody>
      </p:sp>
      <p:sp>
        <p:nvSpPr>
          <p:cNvPr id="11" name="Rectangle 10">
            <a:extLst>
              <a:ext uri="{FF2B5EF4-FFF2-40B4-BE49-F238E27FC236}">
                <a16:creationId xmlns:a16="http://schemas.microsoft.com/office/drawing/2014/main" id="{3FF8B3EB-C90A-42CB-A7E1-A9949DC1A7D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88C49D00-8AF8-47FC-A768-2DE070D207C2}"/>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383323A4-CF0F-4263-9EBE-761D7961B974}"/>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DABE0F73-33D4-4989-8739-6701CEA83C61}"/>
              </a:ext>
            </a:extLst>
          </p:cNvPr>
          <p:cNvPicPr>
            <a:picLocks/>
          </p:cNvPicPr>
          <p:nvPr userDrawn="1"/>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6" name="Straight Connector 15">
            <a:extLst>
              <a:ext uri="{FF2B5EF4-FFF2-40B4-BE49-F238E27FC236}">
                <a16:creationId xmlns:a16="http://schemas.microsoft.com/office/drawing/2014/main" id="{51B32D78-7EB9-4764-B0AD-58E3C6F7904F}"/>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1378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02">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F14C40-A1A3-4006-ADC7-BE0895E32525}"/>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0"/>
            <a:ext cx="12192000" cy="6858460"/>
          </a:xfrm>
          <a:prstGeom prst="rect">
            <a:avLst/>
          </a:prstGeom>
        </p:spPr>
      </p:pic>
      <p:sp>
        <p:nvSpPr>
          <p:cNvPr id="6" name="Rectangle 5">
            <a:extLst>
              <a:ext uri="{FF2B5EF4-FFF2-40B4-BE49-F238E27FC236}">
                <a16:creationId xmlns:a16="http://schemas.microsoft.com/office/drawing/2014/main" id="{3E5F193C-E268-4733-AD80-A691EB7202AB}"/>
              </a:ext>
            </a:extLst>
          </p:cNvPr>
          <p:cNvSpPr/>
          <p:nvPr userDrawn="1"/>
        </p:nvSpPr>
        <p:spPr>
          <a:xfrm>
            <a:off x="2933700" y="2381251"/>
            <a:ext cx="9258299" cy="4476750"/>
          </a:xfrm>
          <a:prstGeom prst="rect">
            <a:avLst/>
          </a:prstGeom>
          <a:solidFill>
            <a:schemeClr val="tx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223817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a:xfrm>
            <a:off x="3332609" y="5710318"/>
            <a:ext cx="8420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1400" dirty="0">
                <a:solidFill>
                  <a:schemeClr val="tx1"/>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a:xfrm>
            <a:off x="3333750" y="4816459"/>
            <a:ext cx="8420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fr-FR" sz="2000" dirty="0">
                <a:solidFill>
                  <a:schemeClr val="tx1"/>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a:xfrm>
            <a:off x="3333750" y="3341196"/>
            <a:ext cx="842010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fr-FR" sz="4400" cap="all" baseline="0" dirty="0">
                <a:solidFill>
                  <a:schemeClr val="accent3"/>
                </a:solidFill>
              </a:defRPr>
            </a:lvl1pPr>
          </a:lstStyle>
          <a:p>
            <a:pPr lvl="0"/>
            <a:r>
              <a:rPr lang="en-US"/>
              <a:t>Click to edit Master title style</a:t>
            </a:r>
            <a:endParaRPr lang="fr-FR"/>
          </a:p>
        </p:txBody>
      </p:sp>
      <p:pic>
        <p:nvPicPr>
          <p:cNvPr id="8" name="Image 1">
            <a:extLst>
              <a:ext uri="{FF2B5EF4-FFF2-40B4-BE49-F238E27FC236}">
                <a16:creationId xmlns:a16="http://schemas.microsoft.com/office/drawing/2014/main" id="{DC4F8B53-E9B3-4719-8C90-880C9BBD9B2F}"/>
              </a:ext>
            </a:extLst>
          </p:cNvPr>
          <p:cNvPicPr>
            <a:picLocks/>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200" y="315895"/>
            <a:ext cx="2438909" cy="1898995"/>
          </a:xfrm>
          <a:prstGeom prst="rect">
            <a:avLst/>
          </a:prstGeom>
        </p:spPr>
      </p:pic>
    </p:spTree>
    <p:extLst>
      <p:ext uri="{BB962C8B-B14F-4D97-AF65-F5344CB8AC3E}">
        <p14:creationId xmlns:p14="http://schemas.microsoft.com/office/powerpoint/2010/main" val="2070196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561781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userDrawn="1">
            <p:ph type="title"/>
            <p:custDataLst>
              <p:tags r:id="rId3"/>
            </p:custDataLst>
          </p:nvPr>
        </p:nvSpPr>
        <p:spPr>
          <a:xfrm>
            <a:off x="4395019" y="4103391"/>
            <a:ext cx="7242245" cy="1354217"/>
          </a:xfrm>
        </p:spPr>
        <p:txBody>
          <a:bodyPr wrap="square" anchor="b">
            <a:noAutofit/>
          </a:bodyPr>
          <a:lstStyle>
            <a:lvl1pPr>
              <a:lnSpc>
                <a:spcPct val="100000"/>
              </a:lnSpc>
              <a:defRPr sz="4400"/>
            </a:lvl1pPr>
          </a:lstStyle>
          <a:p>
            <a:r>
              <a:rPr lang="en-US"/>
              <a:t>Click to edit Master title style</a:t>
            </a:r>
            <a:endParaRPr lang="fr-FR"/>
          </a:p>
        </p:txBody>
      </p:sp>
      <p:sp>
        <p:nvSpPr>
          <p:cNvPr id="10" name="Rectangle 9">
            <a:extLst>
              <a:ext uri="{FF2B5EF4-FFF2-40B4-BE49-F238E27FC236}">
                <a16:creationId xmlns:a16="http://schemas.microsoft.com/office/drawing/2014/main" id="{28CF2F30-6583-41E8-9848-0AADEDCA8057}"/>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1" name="Slide Number">
            <a:extLst>
              <a:ext uri="{FF2B5EF4-FFF2-40B4-BE49-F238E27FC236}">
                <a16:creationId xmlns:a16="http://schemas.microsoft.com/office/drawing/2014/main" id="{1D3B5CF6-D26A-449D-91D0-DBF9826945E6}"/>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72030B-855D-4957-8595-E303B238C81F}"/>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fr-FR">
                <a:solidFill>
                  <a:schemeClr val="tx1"/>
                </a:solidFill>
              </a:rPr>
              <a:t>Source: …</a:t>
            </a:r>
          </a:p>
        </p:txBody>
      </p:sp>
      <p:pic>
        <p:nvPicPr>
          <p:cNvPr id="13" name="Image 1">
            <a:extLst>
              <a:ext uri="{FF2B5EF4-FFF2-40B4-BE49-F238E27FC236}">
                <a16:creationId xmlns:a16="http://schemas.microsoft.com/office/drawing/2014/main" id="{C4A2696A-E1D1-4CC9-9742-0DC3EC5A4250}"/>
              </a:ext>
            </a:extLst>
          </p:cNvPr>
          <p:cNvPicPr>
            <a:picLocks/>
          </p:cNvPicPr>
          <p:nvPr userDrawn="1"/>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FC710139-C9F3-4C6C-820F-1A0B3EF7FA7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F5F038A-5B38-448F-B35A-0D354E748CB1}"/>
              </a:ext>
            </a:extLst>
          </p:cNvPr>
          <p:cNvCxnSpPr>
            <a:cxnSpLocks/>
          </p:cNvCxnSpPr>
          <p:nvPr userDrawn="1"/>
        </p:nvCxnSpPr>
        <p:spPr>
          <a:xfrm>
            <a:off x="4114800" y="5609486"/>
            <a:ext cx="3619500" cy="0"/>
          </a:xfrm>
          <a:prstGeom prst="line">
            <a:avLst/>
          </a:prstGeom>
          <a:ln w="19050"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raphic 24">
            <a:extLst>
              <a:ext uri="{FF2B5EF4-FFF2-40B4-BE49-F238E27FC236}">
                <a16:creationId xmlns:a16="http://schemas.microsoft.com/office/drawing/2014/main" id="{1C71EF49-0B0C-4903-9CFE-C4F3F09EB414}"/>
              </a:ext>
            </a:extLst>
          </p:cNvPr>
          <p:cNvSpPr/>
          <p:nvPr/>
        </p:nvSpPr>
        <p:spPr>
          <a:xfrm>
            <a:off x="8384" y="3018908"/>
            <a:ext cx="4209222" cy="2590578"/>
          </a:xfrm>
          <a:custGeom>
            <a:avLst/>
            <a:gdLst>
              <a:gd name="connsiteX0" fmla="*/ 4209222 w 4209222"/>
              <a:gd name="connsiteY0" fmla="*/ 2590181 h 2590578"/>
              <a:gd name="connsiteX1" fmla="*/ 2931283 w 4209222"/>
              <a:gd name="connsiteY1" fmla="*/ 2583641 h 2590578"/>
              <a:gd name="connsiteX2" fmla="*/ 2882844 w 4209222"/>
              <a:gd name="connsiteY2" fmla="*/ 2395796 h 2590578"/>
              <a:gd name="connsiteX3" fmla="*/ 3108526 w 4209222"/>
              <a:gd name="connsiteY3" fmla="*/ 1703743 h 2590578"/>
              <a:gd name="connsiteX4" fmla="*/ 3045254 w 4209222"/>
              <a:gd name="connsiteY4" fmla="*/ 1646474 h 2590578"/>
              <a:gd name="connsiteX5" fmla="*/ 2960974 w 4209222"/>
              <a:gd name="connsiteY5" fmla="*/ 1569589 h 2590578"/>
              <a:gd name="connsiteX6" fmla="*/ 3049171 w 4209222"/>
              <a:gd name="connsiteY6" fmla="*/ 1613195 h 2590578"/>
              <a:gd name="connsiteX7" fmla="*/ 3116418 w 4209222"/>
              <a:gd name="connsiteY7" fmla="*/ 1571048 h 2590578"/>
              <a:gd name="connsiteX8" fmla="*/ 3341096 w 4209222"/>
              <a:gd name="connsiteY8" fmla="*/ 1507759 h 2590578"/>
              <a:gd name="connsiteX9" fmla="*/ 3501232 w 4209222"/>
              <a:gd name="connsiteY9" fmla="*/ 1451285 h 2590578"/>
              <a:gd name="connsiteX10" fmla="*/ 3586998 w 4209222"/>
              <a:gd name="connsiteY10" fmla="*/ 1397698 h 2590578"/>
              <a:gd name="connsiteX11" fmla="*/ 3678891 w 4209222"/>
              <a:gd name="connsiteY11" fmla="*/ 1333272 h 2590578"/>
              <a:gd name="connsiteX12" fmla="*/ 3642771 w 4209222"/>
              <a:gd name="connsiteY12" fmla="*/ 1291736 h 2590578"/>
              <a:gd name="connsiteX13" fmla="*/ 3666952 w 4209222"/>
              <a:gd name="connsiteY13" fmla="*/ 1254566 h 2590578"/>
              <a:gd name="connsiteX14" fmla="*/ 3488287 w 4209222"/>
              <a:gd name="connsiteY14" fmla="*/ 1329557 h 2590578"/>
              <a:gd name="connsiteX15" fmla="*/ 3333641 w 4209222"/>
              <a:gd name="connsiteY15" fmla="*/ 1362034 h 2590578"/>
              <a:gd name="connsiteX16" fmla="*/ 3225143 w 4209222"/>
              <a:gd name="connsiteY16" fmla="*/ 1356937 h 2590578"/>
              <a:gd name="connsiteX17" fmla="*/ 3422975 w 4209222"/>
              <a:gd name="connsiteY17" fmla="*/ 1343237 h 2590578"/>
              <a:gd name="connsiteX18" fmla="*/ 3305406 w 4209222"/>
              <a:gd name="connsiteY18" fmla="*/ 1302029 h 2590578"/>
              <a:gd name="connsiteX19" fmla="*/ 3142939 w 4209222"/>
              <a:gd name="connsiteY19" fmla="*/ 1156170 h 2590578"/>
              <a:gd name="connsiteX20" fmla="*/ 2932470 w 4209222"/>
              <a:gd name="connsiteY20" fmla="*/ 1015892 h 2590578"/>
              <a:gd name="connsiteX21" fmla="*/ 2909577 w 4209222"/>
              <a:gd name="connsiteY21" fmla="*/ 630571 h 2590578"/>
              <a:gd name="connsiteX22" fmla="*/ 3251430 w 4209222"/>
              <a:gd name="connsiteY22" fmla="*/ 879337 h 2590578"/>
              <a:gd name="connsiteX23" fmla="*/ 3215645 w 4209222"/>
              <a:gd name="connsiteY23" fmla="*/ 782020 h 2590578"/>
              <a:gd name="connsiteX24" fmla="*/ 3617819 w 4209222"/>
              <a:gd name="connsiteY24" fmla="*/ 793926 h 2590578"/>
              <a:gd name="connsiteX25" fmla="*/ 3231157 w 4209222"/>
              <a:gd name="connsiteY25" fmla="*/ 1278653 h 2590578"/>
              <a:gd name="connsiteX26" fmla="*/ 3147141 w 4209222"/>
              <a:gd name="connsiteY26" fmla="*/ 1317976 h 2590578"/>
              <a:gd name="connsiteX27" fmla="*/ 2956372 w 4209222"/>
              <a:gd name="connsiteY27" fmla="*/ 1465196 h 2590578"/>
              <a:gd name="connsiteX28" fmla="*/ 2909836 w 4209222"/>
              <a:gd name="connsiteY28" fmla="*/ 1492426 h 2590578"/>
              <a:gd name="connsiteX29" fmla="*/ 2829184 w 4209222"/>
              <a:gd name="connsiteY29" fmla="*/ 1766958 h 2590578"/>
              <a:gd name="connsiteX30" fmla="*/ 2633016 w 4209222"/>
              <a:gd name="connsiteY30" fmla="*/ 2024185 h 2590578"/>
              <a:gd name="connsiteX31" fmla="*/ 2488670 w 4209222"/>
              <a:gd name="connsiteY31" fmla="*/ 2108238 h 2590578"/>
              <a:gd name="connsiteX32" fmla="*/ 2609811 w 4209222"/>
              <a:gd name="connsiteY32" fmla="*/ 2092626 h 2590578"/>
              <a:gd name="connsiteX33" fmla="*/ 2544077 w 4209222"/>
              <a:gd name="connsiteY33" fmla="*/ 1813240 h 2590578"/>
              <a:gd name="connsiteX34" fmla="*/ 2507434 w 4209222"/>
              <a:gd name="connsiteY34" fmla="*/ 1537275 h 2590578"/>
              <a:gd name="connsiteX35" fmla="*/ 2269960 w 4209222"/>
              <a:gd name="connsiteY35" fmla="*/ 1376711 h 2590578"/>
              <a:gd name="connsiteX36" fmla="*/ 2057264 w 4209222"/>
              <a:gd name="connsiteY36" fmla="*/ 1163612 h 2590578"/>
              <a:gd name="connsiteX37" fmla="*/ 2037373 w 4209222"/>
              <a:gd name="connsiteY37" fmla="*/ 1263658 h 2590578"/>
              <a:gd name="connsiteX38" fmla="*/ 2206631 w 4209222"/>
              <a:gd name="connsiteY38" fmla="*/ 1911459 h 2590578"/>
              <a:gd name="connsiteX39" fmla="*/ 2215311 w 4209222"/>
              <a:gd name="connsiteY39" fmla="*/ 2044238 h 2590578"/>
              <a:gd name="connsiteX40" fmla="*/ 2310363 w 4209222"/>
              <a:gd name="connsiteY40" fmla="*/ 2063502 h 2590578"/>
              <a:gd name="connsiteX41" fmla="*/ 2220576 w 4209222"/>
              <a:gd name="connsiteY41" fmla="*/ 1970042 h 2590578"/>
              <a:gd name="connsiteX42" fmla="*/ 2240863 w 4209222"/>
              <a:gd name="connsiteY42" fmla="*/ 2049594 h 2590578"/>
              <a:gd name="connsiteX43" fmla="*/ 2424224 w 4209222"/>
              <a:gd name="connsiteY43" fmla="*/ 2027231 h 2590578"/>
              <a:gd name="connsiteX44" fmla="*/ 2332159 w 4209222"/>
              <a:gd name="connsiteY44" fmla="*/ 1831481 h 2590578"/>
              <a:gd name="connsiteX45" fmla="*/ 2262367 w 4209222"/>
              <a:gd name="connsiteY45" fmla="*/ 1835013 h 2590578"/>
              <a:gd name="connsiteX46" fmla="*/ 2184312 w 4209222"/>
              <a:gd name="connsiteY46" fmla="*/ 1638073 h 2590578"/>
              <a:gd name="connsiteX47" fmla="*/ 2129914 w 4209222"/>
              <a:gd name="connsiteY47" fmla="*/ 1370261 h 2590578"/>
              <a:gd name="connsiteX48" fmla="*/ 2207325 w 4209222"/>
              <a:gd name="connsiteY48" fmla="*/ 1571118 h 2590578"/>
              <a:gd name="connsiteX49" fmla="*/ 2246377 w 4209222"/>
              <a:gd name="connsiteY49" fmla="*/ 1752373 h 2590578"/>
              <a:gd name="connsiteX50" fmla="*/ 2250881 w 4209222"/>
              <a:gd name="connsiteY50" fmla="*/ 1841469 h 2590578"/>
              <a:gd name="connsiteX51" fmla="*/ 2242681 w 4209222"/>
              <a:gd name="connsiteY51" fmla="*/ 1951432 h 2590578"/>
              <a:gd name="connsiteX52" fmla="*/ 2453495 w 4209222"/>
              <a:gd name="connsiteY52" fmla="*/ 1914913 h 2590578"/>
              <a:gd name="connsiteX53" fmla="*/ 2250887 w 4209222"/>
              <a:gd name="connsiteY53" fmla="*/ 1622854 h 2590578"/>
              <a:gd name="connsiteX54" fmla="*/ 2016590 w 4209222"/>
              <a:gd name="connsiteY54" fmla="*/ 1211725 h 2590578"/>
              <a:gd name="connsiteX55" fmla="*/ 1610965 w 4209222"/>
              <a:gd name="connsiteY55" fmla="*/ 1057408 h 2590578"/>
              <a:gd name="connsiteX56" fmla="*/ 1638714 w 4209222"/>
              <a:gd name="connsiteY56" fmla="*/ 869668 h 2590578"/>
              <a:gd name="connsiteX57" fmla="*/ 1630632 w 4209222"/>
              <a:gd name="connsiteY57" fmla="*/ 730393 h 2590578"/>
              <a:gd name="connsiteX58" fmla="*/ 1624122 w 4209222"/>
              <a:gd name="connsiteY58" fmla="*/ 645237 h 2590578"/>
              <a:gd name="connsiteX59" fmla="*/ 1588897 w 4209222"/>
              <a:gd name="connsiteY59" fmla="*/ 604942 h 2590578"/>
              <a:gd name="connsiteX60" fmla="*/ 1612427 w 4209222"/>
              <a:gd name="connsiteY60" fmla="*/ 414803 h 2590578"/>
              <a:gd name="connsiteX61" fmla="*/ 1647300 w 4209222"/>
              <a:gd name="connsiteY61" fmla="*/ 466411 h 2590578"/>
              <a:gd name="connsiteX62" fmla="*/ 1877348 w 4209222"/>
              <a:gd name="connsiteY62" fmla="*/ 392702 h 2590578"/>
              <a:gd name="connsiteX63" fmla="*/ 2215888 w 4209222"/>
              <a:gd name="connsiteY63" fmla="*/ 316051 h 2590578"/>
              <a:gd name="connsiteX64" fmla="*/ 2249868 w 4209222"/>
              <a:gd name="connsiteY64" fmla="*/ 629605 h 2590578"/>
              <a:gd name="connsiteX65" fmla="*/ 2283345 w 4209222"/>
              <a:gd name="connsiteY65" fmla="*/ 697952 h 2590578"/>
              <a:gd name="connsiteX66" fmla="*/ 2182917 w 4209222"/>
              <a:gd name="connsiteY66" fmla="*/ 809538 h 2590578"/>
              <a:gd name="connsiteX67" fmla="*/ 1965012 w 4209222"/>
              <a:gd name="connsiteY67" fmla="*/ 1019276 h 2590578"/>
              <a:gd name="connsiteX68" fmla="*/ 1779331 w 4209222"/>
              <a:gd name="connsiteY68" fmla="*/ 1008866 h 2590578"/>
              <a:gd name="connsiteX69" fmla="*/ 1544158 w 4209222"/>
              <a:gd name="connsiteY69" fmla="*/ 755831 h 2590578"/>
              <a:gd name="connsiteX70" fmla="*/ 1506871 w 4209222"/>
              <a:gd name="connsiteY70" fmla="*/ 367149 h 2590578"/>
              <a:gd name="connsiteX71" fmla="*/ 1729595 w 4209222"/>
              <a:gd name="connsiteY71" fmla="*/ 92593 h 2590578"/>
              <a:gd name="connsiteX72" fmla="*/ 2431189 w 4209222"/>
              <a:gd name="connsiteY72" fmla="*/ 390448 h 2590578"/>
              <a:gd name="connsiteX73" fmla="*/ 2385149 w 4209222"/>
              <a:gd name="connsiteY73" fmla="*/ 794463 h 2590578"/>
              <a:gd name="connsiteX74" fmla="*/ 2014799 w 4209222"/>
              <a:gd name="connsiteY74" fmla="*/ 1125040 h 2590578"/>
              <a:gd name="connsiteX75" fmla="*/ 2021315 w 4209222"/>
              <a:gd name="connsiteY75" fmla="*/ 1729302 h 2590578"/>
              <a:gd name="connsiteX76" fmla="*/ 1688967 w 4209222"/>
              <a:gd name="connsiteY76" fmla="*/ 1335929 h 2590578"/>
              <a:gd name="connsiteX77" fmla="*/ 1578521 w 4209222"/>
              <a:gd name="connsiteY77" fmla="*/ 1057502 h 2590578"/>
              <a:gd name="connsiteX78" fmla="*/ 1470392 w 4209222"/>
              <a:gd name="connsiteY78" fmla="*/ 1052059 h 2590578"/>
              <a:gd name="connsiteX79" fmla="*/ 1483673 w 4209222"/>
              <a:gd name="connsiteY79" fmla="*/ 1544825 h 2590578"/>
              <a:gd name="connsiteX80" fmla="*/ 1543263 w 4209222"/>
              <a:gd name="connsiteY80" fmla="*/ 1651730 h 2590578"/>
              <a:gd name="connsiteX81" fmla="*/ 1558727 w 4209222"/>
              <a:gd name="connsiteY81" fmla="*/ 1608080 h 2590578"/>
              <a:gd name="connsiteX82" fmla="*/ 1483961 w 4209222"/>
              <a:gd name="connsiteY82" fmla="*/ 1255888 h 2590578"/>
              <a:gd name="connsiteX83" fmla="*/ 1744938 w 4209222"/>
              <a:gd name="connsiteY83" fmla="*/ 1596225 h 2590578"/>
              <a:gd name="connsiteX84" fmla="*/ 1793759 w 4209222"/>
              <a:gd name="connsiteY84" fmla="*/ 1684100 h 2590578"/>
              <a:gd name="connsiteX85" fmla="*/ 1817470 w 4209222"/>
              <a:gd name="connsiteY85" fmla="*/ 1911459 h 2590578"/>
              <a:gd name="connsiteX86" fmla="*/ 1873263 w 4209222"/>
              <a:gd name="connsiteY86" fmla="*/ 2154157 h 2590578"/>
              <a:gd name="connsiteX87" fmla="*/ 1711461 w 4209222"/>
              <a:gd name="connsiteY87" fmla="*/ 2190760 h 2590578"/>
              <a:gd name="connsiteX88" fmla="*/ 1608953 w 4209222"/>
              <a:gd name="connsiteY88" fmla="*/ 2113017 h 2590578"/>
              <a:gd name="connsiteX89" fmla="*/ 1595692 w 4209222"/>
              <a:gd name="connsiteY89" fmla="*/ 1972833 h 2590578"/>
              <a:gd name="connsiteX90" fmla="*/ 1542689 w 4209222"/>
              <a:gd name="connsiteY90" fmla="*/ 1691073 h 2590578"/>
              <a:gd name="connsiteX91" fmla="*/ 1573081 w 4209222"/>
              <a:gd name="connsiteY91" fmla="*/ 1632724 h 2590578"/>
              <a:gd name="connsiteX92" fmla="*/ 1513454 w 4209222"/>
              <a:gd name="connsiteY92" fmla="*/ 1611421 h 2590578"/>
              <a:gd name="connsiteX93" fmla="*/ 1532507 w 4209222"/>
              <a:gd name="connsiteY93" fmla="*/ 1735500 h 2590578"/>
              <a:gd name="connsiteX94" fmla="*/ 1573551 w 4209222"/>
              <a:gd name="connsiteY94" fmla="*/ 2059051 h 2590578"/>
              <a:gd name="connsiteX95" fmla="*/ 1791921 w 4209222"/>
              <a:gd name="connsiteY95" fmla="*/ 2192847 h 2590578"/>
              <a:gd name="connsiteX96" fmla="*/ 1819100 w 4209222"/>
              <a:gd name="connsiteY96" fmla="*/ 2152662 h 2590578"/>
              <a:gd name="connsiteX97" fmla="*/ 1694357 w 4209222"/>
              <a:gd name="connsiteY97" fmla="*/ 2190462 h 2590578"/>
              <a:gd name="connsiteX98" fmla="*/ 1646254 w 4209222"/>
              <a:gd name="connsiteY98" fmla="*/ 2132415 h 2590578"/>
              <a:gd name="connsiteX99" fmla="*/ 1732016 w 4209222"/>
              <a:gd name="connsiteY99" fmla="*/ 2199101 h 2590578"/>
              <a:gd name="connsiteX100" fmla="*/ 1863926 w 4209222"/>
              <a:gd name="connsiteY100" fmla="*/ 2005140 h 2590578"/>
              <a:gd name="connsiteX101" fmla="*/ 1798152 w 4209222"/>
              <a:gd name="connsiteY101" fmla="*/ 1635447 h 2590578"/>
              <a:gd name="connsiteX102" fmla="*/ 1739401 w 4209222"/>
              <a:gd name="connsiteY102" fmla="*/ 1609194 h 2590578"/>
              <a:gd name="connsiteX103" fmla="*/ 1766600 w 4209222"/>
              <a:gd name="connsiteY103" fmla="*/ 1657065 h 2590578"/>
              <a:gd name="connsiteX104" fmla="*/ 1576592 w 4209222"/>
              <a:gd name="connsiteY104" fmla="*/ 1275792 h 2590578"/>
              <a:gd name="connsiteX105" fmla="*/ 1511506 w 4209222"/>
              <a:gd name="connsiteY105" fmla="*/ 1184882 h 2590578"/>
              <a:gd name="connsiteX106" fmla="*/ 1367874 w 4209222"/>
              <a:gd name="connsiteY106" fmla="*/ 1216974 h 2590578"/>
              <a:gd name="connsiteX107" fmla="*/ 1070177 w 4209222"/>
              <a:gd name="connsiteY107" fmla="*/ 1408944 h 2590578"/>
              <a:gd name="connsiteX108" fmla="*/ 971744 w 4209222"/>
              <a:gd name="connsiteY108" fmla="*/ 2331575 h 2590578"/>
              <a:gd name="connsiteX109" fmla="*/ 1570747 w 4209222"/>
              <a:gd name="connsiteY109" fmla="*/ 2588806 h 2590578"/>
              <a:gd name="connsiteX110" fmla="*/ 1992268 w 4209222"/>
              <a:gd name="connsiteY110" fmla="*/ 2542088 h 2590578"/>
              <a:gd name="connsiteX111" fmla="*/ 2248607 w 4209222"/>
              <a:gd name="connsiteY111" fmla="*/ 2539069 h 2590578"/>
              <a:gd name="connsiteX112" fmla="*/ 2393567 w 4209222"/>
              <a:gd name="connsiteY112" fmla="*/ 2489702 h 2590578"/>
              <a:gd name="connsiteX113" fmla="*/ 2499395 w 4209222"/>
              <a:gd name="connsiteY113" fmla="*/ 2532328 h 2590578"/>
              <a:gd name="connsiteX114" fmla="*/ 2722719 w 4209222"/>
              <a:gd name="connsiteY114" fmla="*/ 2480546 h 2590578"/>
              <a:gd name="connsiteX115" fmla="*/ 2412462 w 4209222"/>
              <a:gd name="connsiteY115" fmla="*/ 2324173 h 2590578"/>
              <a:gd name="connsiteX116" fmla="*/ 2231999 w 4209222"/>
              <a:gd name="connsiteY116" fmla="*/ 2286950 h 2590578"/>
              <a:gd name="connsiteX117" fmla="*/ 2086221 w 4209222"/>
              <a:gd name="connsiteY117" fmla="*/ 2375540 h 2590578"/>
              <a:gd name="connsiteX118" fmla="*/ 2053022 w 4209222"/>
              <a:gd name="connsiteY118" fmla="*/ 2224959 h 2590578"/>
              <a:gd name="connsiteX119" fmla="*/ 1799376 w 4209222"/>
              <a:gd name="connsiteY119" fmla="*/ 2247895 h 2590578"/>
              <a:gd name="connsiteX120" fmla="*/ 1496240 w 4209222"/>
              <a:gd name="connsiteY120" fmla="*/ 2221283 h 2590578"/>
              <a:gd name="connsiteX121" fmla="*/ 1241095 w 4209222"/>
              <a:gd name="connsiteY121" fmla="*/ 2175216 h 2590578"/>
              <a:gd name="connsiteX122" fmla="*/ 1439111 w 4209222"/>
              <a:gd name="connsiteY122" fmla="*/ 1871482 h 2590578"/>
              <a:gd name="connsiteX123" fmla="*/ 1149168 w 4209222"/>
              <a:gd name="connsiteY123" fmla="*/ 1395542 h 2590578"/>
              <a:gd name="connsiteX124" fmla="*/ 1059743 w 4209222"/>
              <a:gd name="connsiteY124" fmla="*/ 1529679 h 2590578"/>
              <a:gd name="connsiteX125" fmla="*/ 920545 w 4209222"/>
              <a:gd name="connsiteY125" fmla="*/ 2427087 h 2590578"/>
              <a:gd name="connsiteX126" fmla="*/ 788410 w 4209222"/>
              <a:gd name="connsiteY126" fmla="*/ 2583641 h 2590578"/>
              <a:gd name="connsiteX127" fmla="*/ 0 w 4209222"/>
              <a:gd name="connsiteY127" fmla="*/ 2583641 h 259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209222" h="2590578">
                <a:moveTo>
                  <a:pt x="4209222" y="2590181"/>
                </a:moveTo>
                <a:cubicBezTo>
                  <a:pt x="3643710" y="2590181"/>
                  <a:pt x="3113285" y="2592998"/>
                  <a:pt x="2931283" y="2583641"/>
                </a:cubicBezTo>
                <a:cubicBezTo>
                  <a:pt x="2787681" y="2576229"/>
                  <a:pt x="2813244" y="2490473"/>
                  <a:pt x="2882844" y="2395796"/>
                </a:cubicBezTo>
                <a:cubicBezTo>
                  <a:pt x="3021945" y="2206567"/>
                  <a:pt x="3107164" y="1831193"/>
                  <a:pt x="3108526" y="1703743"/>
                </a:cubicBezTo>
                <a:cubicBezTo>
                  <a:pt x="3109140" y="1645726"/>
                  <a:pt x="3091844" y="1661304"/>
                  <a:pt x="3045254" y="1646474"/>
                </a:cubicBezTo>
                <a:cubicBezTo>
                  <a:pt x="3033667" y="1642792"/>
                  <a:pt x="2935713" y="1591251"/>
                  <a:pt x="2960974" y="1569589"/>
                </a:cubicBezTo>
                <a:cubicBezTo>
                  <a:pt x="2966732" y="1564649"/>
                  <a:pt x="3035776" y="1611058"/>
                  <a:pt x="3049171" y="1613195"/>
                </a:cubicBezTo>
                <a:cubicBezTo>
                  <a:pt x="3093263" y="1620218"/>
                  <a:pt x="3092351" y="1596258"/>
                  <a:pt x="3116418" y="1571048"/>
                </a:cubicBezTo>
                <a:cubicBezTo>
                  <a:pt x="3172016" y="1512810"/>
                  <a:pt x="3268836" y="1528043"/>
                  <a:pt x="3341096" y="1507759"/>
                </a:cubicBezTo>
                <a:cubicBezTo>
                  <a:pt x="3418233" y="1486110"/>
                  <a:pt x="3419481" y="1459676"/>
                  <a:pt x="3501232" y="1451285"/>
                </a:cubicBezTo>
                <a:cubicBezTo>
                  <a:pt x="3532030" y="1448126"/>
                  <a:pt x="3589849" y="1421788"/>
                  <a:pt x="3586998" y="1397698"/>
                </a:cubicBezTo>
                <a:cubicBezTo>
                  <a:pt x="3586193" y="1391021"/>
                  <a:pt x="3669903" y="1348049"/>
                  <a:pt x="3678891" y="1333272"/>
                </a:cubicBezTo>
                <a:cubicBezTo>
                  <a:pt x="3714743" y="1274451"/>
                  <a:pt x="3654543" y="1318305"/>
                  <a:pt x="3642771" y="1291736"/>
                </a:cubicBezTo>
                <a:cubicBezTo>
                  <a:pt x="3637707" y="1280280"/>
                  <a:pt x="3674733" y="1271959"/>
                  <a:pt x="3666952" y="1254566"/>
                </a:cubicBezTo>
                <a:cubicBezTo>
                  <a:pt x="3646997" y="1210132"/>
                  <a:pt x="3531795" y="1307529"/>
                  <a:pt x="3488287" y="1329557"/>
                </a:cubicBezTo>
                <a:cubicBezTo>
                  <a:pt x="3439362" y="1354327"/>
                  <a:pt x="3388036" y="1360609"/>
                  <a:pt x="3333641" y="1362034"/>
                </a:cubicBezTo>
                <a:cubicBezTo>
                  <a:pt x="3322439" y="1362330"/>
                  <a:pt x="3229547" y="1351061"/>
                  <a:pt x="3225143" y="1356937"/>
                </a:cubicBezTo>
                <a:cubicBezTo>
                  <a:pt x="3271429" y="1295144"/>
                  <a:pt x="3373142" y="1393664"/>
                  <a:pt x="3422975" y="1343237"/>
                </a:cubicBezTo>
                <a:cubicBezTo>
                  <a:pt x="3477538" y="1288017"/>
                  <a:pt x="3326347" y="1303830"/>
                  <a:pt x="3305406" y="1302029"/>
                </a:cubicBezTo>
                <a:cubicBezTo>
                  <a:pt x="3240607" y="1296455"/>
                  <a:pt x="3282707" y="1261844"/>
                  <a:pt x="3142939" y="1156170"/>
                </a:cubicBezTo>
                <a:cubicBezTo>
                  <a:pt x="3075602" y="1105260"/>
                  <a:pt x="3000424" y="1065883"/>
                  <a:pt x="2932470" y="1015892"/>
                </a:cubicBezTo>
                <a:cubicBezTo>
                  <a:pt x="2713969" y="855146"/>
                  <a:pt x="2839095" y="681978"/>
                  <a:pt x="2909577" y="630571"/>
                </a:cubicBezTo>
                <a:cubicBezTo>
                  <a:pt x="3092254" y="497343"/>
                  <a:pt x="3351168" y="763397"/>
                  <a:pt x="3251430" y="879337"/>
                </a:cubicBezTo>
                <a:cubicBezTo>
                  <a:pt x="3205390" y="932856"/>
                  <a:pt x="3202432" y="813563"/>
                  <a:pt x="3215645" y="782020"/>
                </a:cubicBezTo>
                <a:cubicBezTo>
                  <a:pt x="3295764" y="590832"/>
                  <a:pt x="3615371" y="511093"/>
                  <a:pt x="3617819" y="793926"/>
                </a:cubicBezTo>
                <a:cubicBezTo>
                  <a:pt x="3619395" y="973638"/>
                  <a:pt x="3366649" y="1088367"/>
                  <a:pt x="3231157" y="1278653"/>
                </a:cubicBezTo>
                <a:cubicBezTo>
                  <a:pt x="3207771" y="1311503"/>
                  <a:pt x="3191160" y="1314542"/>
                  <a:pt x="3147141" y="1317976"/>
                </a:cubicBezTo>
                <a:cubicBezTo>
                  <a:pt x="2983857" y="1330720"/>
                  <a:pt x="3010636" y="1344461"/>
                  <a:pt x="2956372" y="1465196"/>
                </a:cubicBezTo>
                <a:cubicBezTo>
                  <a:pt x="2932849" y="1517535"/>
                  <a:pt x="2938691" y="1477266"/>
                  <a:pt x="2909836" y="1492426"/>
                </a:cubicBezTo>
                <a:cubicBezTo>
                  <a:pt x="2857926" y="1519692"/>
                  <a:pt x="2900076" y="1604237"/>
                  <a:pt x="2829184" y="1766958"/>
                </a:cubicBezTo>
                <a:cubicBezTo>
                  <a:pt x="2795861" y="1843448"/>
                  <a:pt x="2635846" y="2021640"/>
                  <a:pt x="2633016" y="2024185"/>
                </a:cubicBezTo>
                <a:cubicBezTo>
                  <a:pt x="2591332" y="2061627"/>
                  <a:pt x="2517616" y="2056385"/>
                  <a:pt x="2488670" y="2108238"/>
                </a:cubicBezTo>
                <a:cubicBezTo>
                  <a:pt x="2438940" y="2197320"/>
                  <a:pt x="2518505" y="2250857"/>
                  <a:pt x="2609811" y="2092626"/>
                </a:cubicBezTo>
                <a:cubicBezTo>
                  <a:pt x="2677111" y="1975995"/>
                  <a:pt x="2590158" y="1914007"/>
                  <a:pt x="2544077" y="1813240"/>
                </a:cubicBezTo>
                <a:cubicBezTo>
                  <a:pt x="2504006" y="1725616"/>
                  <a:pt x="2534345" y="1628226"/>
                  <a:pt x="2507434" y="1537275"/>
                </a:cubicBezTo>
                <a:cubicBezTo>
                  <a:pt x="2470177" y="1411345"/>
                  <a:pt x="2375567" y="1417647"/>
                  <a:pt x="2269960" y="1376711"/>
                </a:cubicBezTo>
                <a:cubicBezTo>
                  <a:pt x="2079332" y="1302817"/>
                  <a:pt x="2129666" y="1203166"/>
                  <a:pt x="2057264" y="1163612"/>
                </a:cubicBezTo>
                <a:cubicBezTo>
                  <a:pt x="1958831" y="1109834"/>
                  <a:pt x="2014383" y="1229765"/>
                  <a:pt x="2037373" y="1263658"/>
                </a:cubicBezTo>
                <a:cubicBezTo>
                  <a:pt x="2098033" y="1353090"/>
                  <a:pt x="2217551" y="1879792"/>
                  <a:pt x="2206631" y="1911459"/>
                </a:cubicBezTo>
                <a:cubicBezTo>
                  <a:pt x="2178731" y="1992358"/>
                  <a:pt x="2193384" y="2018846"/>
                  <a:pt x="2215311" y="2044238"/>
                </a:cubicBezTo>
                <a:cubicBezTo>
                  <a:pt x="2233760" y="2065598"/>
                  <a:pt x="2295617" y="2099823"/>
                  <a:pt x="2310363" y="2063502"/>
                </a:cubicBezTo>
                <a:cubicBezTo>
                  <a:pt x="2320196" y="2039274"/>
                  <a:pt x="2244656" y="1972581"/>
                  <a:pt x="2220576" y="1970042"/>
                </a:cubicBezTo>
                <a:cubicBezTo>
                  <a:pt x="2184869" y="1966276"/>
                  <a:pt x="2219379" y="2028217"/>
                  <a:pt x="2240863" y="2049594"/>
                </a:cubicBezTo>
                <a:cubicBezTo>
                  <a:pt x="2278177" y="2086723"/>
                  <a:pt x="2395167" y="2061278"/>
                  <a:pt x="2424224" y="2027231"/>
                </a:cubicBezTo>
                <a:cubicBezTo>
                  <a:pt x="2476717" y="1965719"/>
                  <a:pt x="2392588" y="1858469"/>
                  <a:pt x="2332159" y="1831481"/>
                </a:cubicBezTo>
                <a:cubicBezTo>
                  <a:pt x="2314274" y="1823496"/>
                  <a:pt x="2277674" y="1833293"/>
                  <a:pt x="2262367" y="1835013"/>
                </a:cubicBezTo>
                <a:cubicBezTo>
                  <a:pt x="2216394" y="1829164"/>
                  <a:pt x="2221971" y="1780343"/>
                  <a:pt x="2184312" y="1638073"/>
                </a:cubicBezTo>
                <a:cubicBezTo>
                  <a:pt x="2169448" y="1581914"/>
                  <a:pt x="2141820" y="1398128"/>
                  <a:pt x="2129914" y="1370261"/>
                </a:cubicBezTo>
                <a:cubicBezTo>
                  <a:pt x="2157123" y="1423375"/>
                  <a:pt x="2192160" y="1512401"/>
                  <a:pt x="2207325" y="1571118"/>
                </a:cubicBezTo>
                <a:cubicBezTo>
                  <a:pt x="2222471" y="1629789"/>
                  <a:pt x="2224014" y="1697401"/>
                  <a:pt x="2246377" y="1752373"/>
                </a:cubicBezTo>
                <a:cubicBezTo>
                  <a:pt x="2258152" y="1781312"/>
                  <a:pt x="2276373" y="1809635"/>
                  <a:pt x="2250881" y="1841469"/>
                </a:cubicBezTo>
                <a:cubicBezTo>
                  <a:pt x="2228823" y="1867122"/>
                  <a:pt x="2206413" y="1917314"/>
                  <a:pt x="2242681" y="1951432"/>
                </a:cubicBezTo>
                <a:cubicBezTo>
                  <a:pt x="2352906" y="2055127"/>
                  <a:pt x="2517559" y="2009754"/>
                  <a:pt x="2453495" y="1914913"/>
                </a:cubicBezTo>
                <a:cubicBezTo>
                  <a:pt x="2382379" y="1809635"/>
                  <a:pt x="2282799" y="1826193"/>
                  <a:pt x="2250887" y="1622854"/>
                </a:cubicBezTo>
                <a:cubicBezTo>
                  <a:pt x="2225281" y="1459710"/>
                  <a:pt x="2110251" y="1132687"/>
                  <a:pt x="2016590" y="1211725"/>
                </a:cubicBezTo>
                <a:cubicBezTo>
                  <a:pt x="1956048" y="1262813"/>
                  <a:pt x="1621452" y="1173523"/>
                  <a:pt x="1610965" y="1057408"/>
                </a:cubicBezTo>
                <a:cubicBezTo>
                  <a:pt x="1605157" y="993100"/>
                  <a:pt x="1635632" y="933252"/>
                  <a:pt x="1638714" y="869668"/>
                </a:cubicBezTo>
                <a:cubicBezTo>
                  <a:pt x="1640847" y="825626"/>
                  <a:pt x="1625564" y="774471"/>
                  <a:pt x="1630632" y="730393"/>
                </a:cubicBezTo>
                <a:cubicBezTo>
                  <a:pt x="1632070" y="717883"/>
                  <a:pt x="1637041" y="657482"/>
                  <a:pt x="1624122" y="645237"/>
                </a:cubicBezTo>
                <a:cubicBezTo>
                  <a:pt x="1607102" y="629109"/>
                  <a:pt x="1608906" y="633921"/>
                  <a:pt x="1588897" y="604942"/>
                </a:cubicBezTo>
                <a:cubicBezTo>
                  <a:pt x="1562315" y="566440"/>
                  <a:pt x="1568976" y="435653"/>
                  <a:pt x="1612427" y="414803"/>
                </a:cubicBezTo>
                <a:cubicBezTo>
                  <a:pt x="1628274" y="407197"/>
                  <a:pt x="1629183" y="477042"/>
                  <a:pt x="1647300" y="466411"/>
                </a:cubicBezTo>
                <a:cubicBezTo>
                  <a:pt x="1679476" y="447529"/>
                  <a:pt x="1711273" y="507676"/>
                  <a:pt x="1877348" y="392702"/>
                </a:cubicBezTo>
                <a:cubicBezTo>
                  <a:pt x="2032400" y="285358"/>
                  <a:pt x="2125869" y="144761"/>
                  <a:pt x="2215888" y="316051"/>
                </a:cubicBezTo>
                <a:cubicBezTo>
                  <a:pt x="2283268" y="444269"/>
                  <a:pt x="2264004" y="500552"/>
                  <a:pt x="2249868" y="629605"/>
                </a:cubicBezTo>
                <a:cubicBezTo>
                  <a:pt x="2283617" y="590386"/>
                  <a:pt x="2312070" y="633838"/>
                  <a:pt x="2283345" y="697952"/>
                </a:cubicBezTo>
                <a:cubicBezTo>
                  <a:pt x="2268143" y="731888"/>
                  <a:pt x="2231972" y="763176"/>
                  <a:pt x="2182917" y="809538"/>
                </a:cubicBezTo>
                <a:cubicBezTo>
                  <a:pt x="2152119" y="838645"/>
                  <a:pt x="2134713" y="951071"/>
                  <a:pt x="1965012" y="1019276"/>
                </a:cubicBezTo>
                <a:cubicBezTo>
                  <a:pt x="1892581" y="1048387"/>
                  <a:pt x="1846339" y="1055939"/>
                  <a:pt x="1779331" y="1008866"/>
                </a:cubicBezTo>
                <a:cubicBezTo>
                  <a:pt x="1583981" y="871630"/>
                  <a:pt x="1636018" y="838501"/>
                  <a:pt x="1544158" y="755831"/>
                </a:cubicBezTo>
                <a:cubicBezTo>
                  <a:pt x="1415753" y="640267"/>
                  <a:pt x="1388490" y="525142"/>
                  <a:pt x="1506871" y="367149"/>
                </a:cubicBezTo>
                <a:cubicBezTo>
                  <a:pt x="1576827" y="273784"/>
                  <a:pt x="1610653" y="158612"/>
                  <a:pt x="1729595" y="92593"/>
                </a:cubicBezTo>
                <a:cubicBezTo>
                  <a:pt x="2246139" y="-194117"/>
                  <a:pt x="2483304" y="265074"/>
                  <a:pt x="2431189" y="390448"/>
                </a:cubicBezTo>
                <a:cubicBezTo>
                  <a:pt x="2369108" y="539805"/>
                  <a:pt x="2417949" y="717735"/>
                  <a:pt x="2385149" y="794463"/>
                </a:cubicBezTo>
                <a:cubicBezTo>
                  <a:pt x="2279760" y="1041035"/>
                  <a:pt x="1998667" y="859409"/>
                  <a:pt x="2014799" y="1125040"/>
                </a:cubicBezTo>
                <a:cubicBezTo>
                  <a:pt x="2021362" y="1233116"/>
                  <a:pt x="2086583" y="1676440"/>
                  <a:pt x="2021315" y="1729302"/>
                </a:cubicBezTo>
                <a:cubicBezTo>
                  <a:pt x="1930703" y="1802686"/>
                  <a:pt x="1766147" y="1430126"/>
                  <a:pt x="1688967" y="1335929"/>
                </a:cubicBezTo>
                <a:cubicBezTo>
                  <a:pt x="1619266" y="1250854"/>
                  <a:pt x="1512435" y="1175374"/>
                  <a:pt x="1578521" y="1057502"/>
                </a:cubicBezTo>
                <a:cubicBezTo>
                  <a:pt x="1629079" y="967323"/>
                  <a:pt x="1542213" y="946942"/>
                  <a:pt x="1470392" y="1052059"/>
                </a:cubicBezTo>
                <a:cubicBezTo>
                  <a:pt x="1381531" y="1182115"/>
                  <a:pt x="1461833" y="1426719"/>
                  <a:pt x="1483673" y="1544825"/>
                </a:cubicBezTo>
                <a:cubicBezTo>
                  <a:pt x="1490518" y="1581840"/>
                  <a:pt x="1481563" y="1667311"/>
                  <a:pt x="1543263" y="1651730"/>
                </a:cubicBezTo>
                <a:cubicBezTo>
                  <a:pt x="1567192" y="1645686"/>
                  <a:pt x="1560535" y="1616921"/>
                  <a:pt x="1558727" y="1608080"/>
                </a:cubicBezTo>
                <a:cubicBezTo>
                  <a:pt x="1539678" y="1550858"/>
                  <a:pt x="1475054" y="1283496"/>
                  <a:pt x="1483961" y="1255888"/>
                </a:cubicBezTo>
                <a:cubicBezTo>
                  <a:pt x="1498044" y="1212225"/>
                  <a:pt x="1753306" y="1523693"/>
                  <a:pt x="1744938" y="1596225"/>
                </a:cubicBezTo>
                <a:cubicBezTo>
                  <a:pt x="1737956" y="1656747"/>
                  <a:pt x="1767425" y="1628813"/>
                  <a:pt x="1793759" y="1684100"/>
                </a:cubicBezTo>
                <a:cubicBezTo>
                  <a:pt x="1825402" y="1750542"/>
                  <a:pt x="1799866" y="1839185"/>
                  <a:pt x="1817470" y="1911459"/>
                </a:cubicBezTo>
                <a:cubicBezTo>
                  <a:pt x="1835671" y="1986181"/>
                  <a:pt x="1877727" y="2075528"/>
                  <a:pt x="1873263" y="2154157"/>
                </a:cubicBezTo>
                <a:cubicBezTo>
                  <a:pt x="1868353" y="2240678"/>
                  <a:pt x="1773549" y="2207181"/>
                  <a:pt x="1711461" y="2190760"/>
                </a:cubicBezTo>
                <a:cubicBezTo>
                  <a:pt x="1659300" y="2176970"/>
                  <a:pt x="1630783" y="2165597"/>
                  <a:pt x="1608953" y="2113017"/>
                </a:cubicBezTo>
                <a:cubicBezTo>
                  <a:pt x="1588082" y="2062737"/>
                  <a:pt x="1595551" y="2026848"/>
                  <a:pt x="1595692" y="1972833"/>
                </a:cubicBezTo>
                <a:cubicBezTo>
                  <a:pt x="1595927" y="1881821"/>
                  <a:pt x="1580349" y="1781742"/>
                  <a:pt x="1542689" y="1691073"/>
                </a:cubicBezTo>
                <a:cubicBezTo>
                  <a:pt x="1537072" y="1677557"/>
                  <a:pt x="1578953" y="1665966"/>
                  <a:pt x="1573081" y="1632724"/>
                </a:cubicBezTo>
                <a:cubicBezTo>
                  <a:pt x="1569674" y="1616072"/>
                  <a:pt x="1533292" y="1596339"/>
                  <a:pt x="1513454" y="1611421"/>
                </a:cubicBezTo>
                <a:cubicBezTo>
                  <a:pt x="1483338" y="1634323"/>
                  <a:pt x="1524210" y="1712195"/>
                  <a:pt x="1532507" y="1735500"/>
                </a:cubicBezTo>
                <a:cubicBezTo>
                  <a:pt x="1603567" y="1935120"/>
                  <a:pt x="1562322" y="1953894"/>
                  <a:pt x="1573551" y="2059051"/>
                </a:cubicBezTo>
                <a:cubicBezTo>
                  <a:pt x="1583847" y="2155449"/>
                  <a:pt x="1692888" y="2247744"/>
                  <a:pt x="1791921" y="2192847"/>
                </a:cubicBezTo>
                <a:cubicBezTo>
                  <a:pt x="1804960" y="2185616"/>
                  <a:pt x="1832894" y="2166295"/>
                  <a:pt x="1819100" y="2152662"/>
                </a:cubicBezTo>
                <a:cubicBezTo>
                  <a:pt x="1790969" y="2124869"/>
                  <a:pt x="1759735" y="2216672"/>
                  <a:pt x="1694357" y="2190462"/>
                </a:cubicBezTo>
                <a:cubicBezTo>
                  <a:pt x="1687837" y="2187846"/>
                  <a:pt x="1629153" y="2146471"/>
                  <a:pt x="1646254" y="2132415"/>
                </a:cubicBezTo>
                <a:cubicBezTo>
                  <a:pt x="1672406" y="2110921"/>
                  <a:pt x="1718842" y="2191904"/>
                  <a:pt x="1732016" y="2199101"/>
                </a:cubicBezTo>
                <a:cubicBezTo>
                  <a:pt x="1784573" y="2227806"/>
                  <a:pt x="1966317" y="2291830"/>
                  <a:pt x="1863926" y="2005140"/>
                </a:cubicBezTo>
                <a:cubicBezTo>
                  <a:pt x="1801013" y="1828976"/>
                  <a:pt x="1857014" y="1709029"/>
                  <a:pt x="1798152" y="1635447"/>
                </a:cubicBezTo>
                <a:cubicBezTo>
                  <a:pt x="1787494" y="1622126"/>
                  <a:pt x="1758571" y="1598089"/>
                  <a:pt x="1739401" y="1609194"/>
                </a:cubicBezTo>
                <a:cubicBezTo>
                  <a:pt x="1717353" y="1621968"/>
                  <a:pt x="1743047" y="1657126"/>
                  <a:pt x="1766600" y="1657065"/>
                </a:cubicBezTo>
                <a:cubicBezTo>
                  <a:pt x="1884619" y="1656753"/>
                  <a:pt x="1670763" y="1383153"/>
                  <a:pt x="1576592" y="1275792"/>
                </a:cubicBezTo>
                <a:cubicBezTo>
                  <a:pt x="1559253" y="1256025"/>
                  <a:pt x="1531853" y="1194735"/>
                  <a:pt x="1511506" y="1184882"/>
                </a:cubicBezTo>
                <a:cubicBezTo>
                  <a:pt x="1490595" y="1174753"/>
                  <a:pt x="1394798" y="1210957"/>
                  <a:pt x="1367874" y="1216974"/>
                </a:cubicBezTo>
                <a:cubicBezTo>
                  <a:pt x="1239039" y="1245776"/>
                  <a:pt x="1128761" y="1276175"/>
                  <a:pt x="1070177" y="1408944"/>
                </a:cubicBezTo>
                <a:cubicBezTo>
                  <a:pt x="916538" y="1757122"/>
                  <a:pt x="960012" y="1977994"/>
                  <a:pt x="971744" y="2331575"/>
                </a:cubicBezTo>
                <a:cubicBezTo>
                  <a:pt x="982785" y="2664333"/>
                  <a:pt x="1009974" y="2572708"/>
                  <a:pt x="1570747" y="2588806"/>
                </a:cubicBezTo>
                <a:cubicBezTo>
                  <a:pt x="1685741" y="2592126"/>
                  <a:pt x="1880457" y="2574116"/>
                  <a:pt x="1992268" y="2542088"/>
                </a:cubicBezTo>
                <a:cubicBezTo>
                  <a:pt x="2138224" y="2500266"/>
                  <a:pt x="2147907" y="2563451"/>
                  <a:pt x="2248607" y="2539069"/>
                </a:cubicBezTo>
                <a:cubicBezTo>
                  <a:pt x="2298162" y="2527063"/>
                  <a:pt x="2341912" y="2493257"/>
                  <a:pt x="2393567" y="2489702"/>
                </a:cubicBezTo>
                <a:cubicBezTo>
                  <a:pt x="2441583" y="2486382"/>
                  <a:pt x="2459244" y="2516532"/>
                  <a:pt x="2499395" y="2532328"/>
                </a:cubicBezTo>
                <a:cubicBezTo>
                  <a:pt x="2564602" y="2557985"/>
                  <a:pt x="2682507" y="2545039"/>
                  <a:pt x="2722719" y="2480546"/>
                </a:cubicBezTo>
                <a:cubicBezTo>
                  <a:pt x="2724768" y="2477260"/>
                  <a:pt x="2439114" y="2342733"/>
                  <a:pt x="2412462" y="2324173"/>
                </a:cubicBezTo>
                <a:cubicBezTo>
                  <a:pt x="2352560" y="2282459"/>
                  <a:pt x="2303384" y="2247121"/>
                  <a:pt x="2231999" y="2286950"/>
                </a:cubicBezTo>
                <a:cubicBezTo>
                  <a:pt x="2202784" y="2303253"/>
                  <a:pt x="2121271" y="2386473"/>
                  <a:pt x="2086221" y="2375540"/>
                </a:cubicBezTo>
                <a:cubicBezTo>
                  <a:pt x="2038064" y="2360545"/>
                  <a:pt x="2083981" y="2256297"/>
                  <a:pt x="2053022" y="2224959"/>
                </a:cubicBezTo>
                <a:cubicBezTo>
                  <a:pt x="2014061" y="2185519"/>
                  <a:pt x="1845303" y="2241738"/>
                  <a:pt x="1799376" y="2247895"/>
                </a:cubicBezTo>
                <a:cubicBezTo>
                  <a:pt x="1690852" y="2262441"/>
                  <a:pt x="1598747" y="2260210"/>
                  <a:pt x="1496240" y="2221283"/>
                </a:cubicBezTo>
                <a:cubicBezTo>
                  <a:pt x="1477928" y="2214327"/>
                  <a:pt x="1249781" y="2135490"/>
                  <a:pt x="1241095" y="2175216"/>
                </a:cubicBezTo>
                <a:cubicBezTo>
                  <a:pt x="1181106" y="2449490"/>
                  <a:pt x="1443123" y="1935921"/>
                  <a:pt x="1439111" y="1871482"/>
                </a:cubicBezTo>
                <a:cubicBezTo>
                  <a:pt x="1417446" y="1523294"/>
                  <a:pt x="1224252" y="1414427"/>
                  <a:pt x="1149168" y="1395542"/>
                </a:cubicBezTo>
                <a:cubicBezTo>
                  <a:pt x="1099053" y="1382935"/>
                  <a:pt x="1074752" y="1496936"/>
                  <a:pt x="1059743" y="1529679"/>
                </a:cubicBezTo>
                <a:cubicBezTo>
                  <a:pt x="996766" y="1667090"/>
                  <a:pt x="852464" y="2019738"/>
                  <a:pt x="920545" y="2427087"/>
                </a:cubicBezTo>
                <a:cubicBezTo>
                  <a:pt x="934229" y="2508952"/>
                  <a:pt x="871429" y="2583641"/>
                  <a:pt x="788410" y="2583641"/>
                </a:cubicBezTo>
                <a:lnTo>
                  <a:pt x="0" y="2583641"/>
                </a:lnTo>
              </a:path>
            </a:pathLst>
          </a:custGeom>
          <a:noFill/>
          <a:ln w="19050" cap="flat">
            <a:solidFill>
              <a:schemeClr val="accent3"/>
            </a:solidFill>
            <a:prstDash val="solid"/>
            <a:round/>
          </a:ln>
        </p:spPr>
        <p:txBody>
          <a:bodyPr rtlCol="0" anchor="ctr"/>
          <a:lstStyle/>
          <a:p>
            <a:endParaRPr lang="fr-FR"/>
          </a:p>
        </p:txBody>
      </p:sp>
    </p:spTree>
    <p:extLst>
      <p:ext uri="{BB962C8B-B14F-4D97-AF65-F5344CB8AC3E}">
        <p14:creationId xmlns:p14="http://schemas.microsoft.com/office/powerpoint/2010/main" val="2998503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7060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905000" y="3365729"/>
            <a:ext cx="8781288" cy="523220"/>
          </a:xfrm>
          <a:prstGeom prst="rect">
            <a:avLst/>
          </a:prstGeom>
        </p:spPr>
        <p:txBody>
          <a:bodyPr wrap="square">
            <a:noAutofit/>
          </a:bodyPr>
          <a:lstStyle>
            <a:lvl1pPr>
              <a:lnSpc>
                <a:spcPct val="105000"/>
              </a:lnSpc>
              <a:defRPr sz="3400"/>
            </a:lvl1pPr>
          </a:lstStyle>
          <a:p>
            <a:r>
              <a:rPr lang="fr-FR"/>
              <a:t>“Click to </a:t>
            </a:r>
            <a:r>
              <a:rPr lang="fr-FR" err="1"/>
              <a:t>add</a:t>
            </a:r>
            <a:r>
              <a:rPr lang="fr-FR"/>
              <a:t> </a:t>
            </a:r>
            <a:r>
              <a:rPr lang="fr-FR" err="1"/>
              <a:t>quote</a:t>
            </a:r>
            <a:endParaRPr lang="fr-F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905000" y="4094130"/>
            <a:ext cx="878128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add</a:t>
            </a:r>
            <a:r>
              <a:rPr lang="fr-FR"/>
              <a:t> </a:t>
            </a:r>
            <a:r>
              <a:rPr lang="fr-FR" err="1"/>
              <a:t>quote</a:t>
            </a:r>
            <a:r>
              <a:rPr lang="fr-FR"/>
              <a:t> source</a:t>
            </a:r>
          </a:p>
        </p:txBody>
      </p:sp>
      <p:sp>
        <p:nvSpPr>
          <p:cNvPr id="11" name="Rectangle 10">
            <a:extLst>
              <a:ext uri="{FF2B5EF4-FFF2-40B4-BE49-F238E27FC236}">
                <a16:creationId xmlns:a16="http://schemas.microsoft.com/office/drawing/2014/main" id="{AD68CD23-2E1D-41C5-932F-8EF811CA98F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BD7F91BA-4380-4A5A-9BCE-3EA81A57A2E3}"/>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8B75C04A-7C7A-45CC-8569-25AF6A96DA1D}"/>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2E761F3A-D885-421C-9EFA-3BFEE17738B1}"/>
              </a:ext>
            </a:extLst>
          </p:cNvPr>
          <p:cNvPicPr>
            <a:picLocks/>
          </p:cNvPicPr>
          <p:nvPr userDrawn="1"/>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3F0FE692-C2D2-4D89-8204-4ED59A521252}"/>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70DD0F-0155-4602-A080-F90183C72EF4}"/>
              </a:ext>
            </a:extLst>
          </p:cNvPr>
          <p:cNvSpPr txBox="1"/>
          <p:nvPr userDrawn="1"/>
        </p:nvSpPr>
        <p:spPr>
          <a:xfrm>
            <a:off x="539653"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a16="http://schemas.microsoft.com/office/drawing/2014/main" id="{863510CD-8211-4311-84E9-8119B8316D46}"/>
              </a:ext>
            </a:extLst>
          </p:cNvPr>
          <p:cNvSpPr txBox="1"/>
          <p:nvPr userDrawn="1"/>
        </p:nvSpPr>
        <p:spPr>
          <a:xfrm>
            <a:off x="1165921"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cxnSp>
        <p:nvCxnSpPr>
          <p:cNvPr id="23" name="Straight Connector 22">
            <a:extLst>
              <a:ext uri="{FF2B5EF4-FFF2-40B4-BE49-F238E27FC236}">
                <a16:creationId xmlns:a16="http://schemas.microsoft.com/office/drawing/2014/main" id="{6A120AC3-56D5-4FDB-9268-4D5D772B24A6}"/>
              </a:ext>
            </a:extLst>
          </p:cNvPr>
          <p:cNvCxnSpPr>
            <a:cxnSpLocks/>
          </p:cNvCxnSpPr>
          <p:nvPr userDrawn="1"/>
        </p:nvCxnSpPr>
        <p:spPr>
          <a:xfrm>
            <a:off x="-1" y="3991540"/>
            <a:ext cx="581559"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EF636E1-8633-49EE-9DF2-A5A010F0DFB5}"/>
              </a:ext>
            </a:extLst>
          </p:cNvPr>
          <p:cNvCxnSpPr>
            <a:cxnSpLocks/>
          </p:cNvCxnSpPr>
          <p:nvPr userDrawn="1"/>
        </p:nvCxnSpPr>
        <p:spPr>
          <a:xfrm>
            <a:off x="581558" y="3928834"/>
            <a:ext cx="626268"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1B67340-457B-489D-903F-5A07C08203B7}"/>
              </a:ext>
            </a:extLst>
          </p:cNvPr>
          <p:cNvCxnSpPr>
            <a:cxnSpLocks/>
          </p:cNvCxnSpPr>
          <p:nvPr userDrawn="1"/>
        </p:nvCxnSpPr>
        <p:spPr>
          <a:xfrm>
            <a:off x="1207826" y="3991540"/>
            <a:ext cx="1357574" cy="0"/>
          </a:xfrm>
          <a:prstGeom prst="line">
            <a:avLst/>
          </a:prstGeom>
          <a:ln w="15875"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210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71267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499961"/>
            <a:ext cx="6967728" cy="384721"/>
          </a:xfrm>
        </p:spPr>
        <p:txBody>
          <a:bodyPr/>
          <a:lstStyle/>
          <a:p>
            <a:r>
              <a:rPr lang="en-US"/>
              <a:t>Click to edit Master title style</a:t>
            </a:r>
            <a:endParaRPr lang="fr-F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7" y="957798"/>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1" name="Rectangle 10">
            <a:extLst>
              <a:ext uri="{FF2B5EF4-FFF2-40B4-BE49-F238E27FC236}">
                <a16:creationId xmlns:a16="http://schemas.microsoft.com/office/drawing/2014/main" id="{C9586326-5D2E-44A1-A8A4-D4B313CE104D}"/>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18FDD733-5B86-4D3A-8384-6C6DF21B0A9F}"/>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50BF5A9-3E10-4FD7-BBBD-AC3DE27383A2}"/>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87E9FEF5-539C-4266-94AF-68FD6174FB18}"/>
              </a:ext>
            </a:extLst>
          </p:cNvPr>
          <p:cNvPicPr>
            <a:picLocks/>
          </p:cNvPicPr>
          <p:nvPr userDrawn="1"/>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8AD96AEA-D46E-4DD3-8EFD-5CEBB3A24BE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58AAD5B-6554-4D11-BAB9-B8069992E435}"/>
              </a:ext>
            </a:extLst>
          </p:cNvPr>
          <p:cNvCxnSpPr/>
          <p:nvPr userDrawn="1"/>
        </p:nvCxnSpPr>
        <p:spPr>
          <a:xfrm>
            <a:off x="7830312" y="1467293"/>
            <a:ext cx="0" cy="461453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95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55271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7" y="499961"/>
            <a:ext cx="7918704" cy="384721"/>
          </a:xfrm>
        </p:spPr>
        <p:txBody>
          <a:bodyPr/>
          <a:lstStyle/>
          <a:p>
            <a:r>
              <a:rPr lang="en-US"/>
              <a:t>Click to edit Master title style</a:t>
            </a:r>
            <a:endParaRPr lang="fr-F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7" y="957798"/>
            <a:ext cx="7918704"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1" name="Rectangle 10">
            <a:extLst>
              <a:ext uri="{FF2B5EF4-FFF2-40B4-BE49-F238E27FC236}">
                <a16:creationId xmlns:a16="http://schemas.microsoft.com/office/drawing/2014/main" id="{569154C3-17C4-431E-AA85-6F3ABCA496F2}"/>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FFEEF882-5F04-4A45-B71F-9A0A6D64E214}"/>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E55A1F2-AD34-44A1-9271-15E2C735F392}"/>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BB40254B-FA4C-4339-80DB-81F72F6762FB}"/>
              </a:ext>
            </a:extLst>
          </p:cNvPr>
          <p:cNvPicPr>
            <a:picLocks/>
          </p:cNvPicPr>
          <p:nvPr userDrawn="1"/>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FD9D22CB-24E0-465D-B880-3436C7A0DC1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EC5098-4C96-42B9-8C63-81818ADDE3BB}"/>
              </a:ext>
            </a:extLst>
          </p:cNvPr>
          <p:cNvCxnSpPr/>
          <p:nvPr userDrawn="1"/>
        </p:nvCxnSpPr>
        <p:spPr>
          <a:xfrm>
            <a:off x="8781416" y="1467293"/>
            <a:ext cx="0" cy="461453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1525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1244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7" y="884682"/>
            <a:ext cx="9697339" cy="384721"/>
          </a:xfrm>
        </p:spPr>
        <p:txBody>
          <a:bodyPr wrap="square">
            <a:noAutofit/>
          </a:bodyPr>
          <a:lstStyle>
            <a:lvl1pPr>
              <a:defRPr/>
            </a:lvl1pPr>
          </a:lstStyle>
          <a:p>
            <a:r>
              <a:rPr lang="en-US"/>
              <a:t>Click to edit Master title style</a:t>
            </a:r>
            <a:endParaRPr lang="fr-FR"/>
          </a:p>
        </p:txBody>
      </p:sp>
      <p:sp>
        <p:nvSpPr>
          <p:cNvPr id="12" name="Rectangle 11">
            <a:extLst>
              <a:ext uri="{FF2B5EF4-FFF2-40B4-BE49-F238E27FC236}">
                <a16:creationId xmlns:a16="http://schemas.microsoft.com/office/drawing/2014/main" id="{537D3934-9881-47CB-9F3F-52B20FB723EA}"/>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3" name="Slide Number">
            <a:extLst>
              <a:ext uri="{FF2B5EF4-FFF2-40B4-BE49-F238E27FC236}">
                <a16:creationId xmlns:a16="http://schemas.microsoft.com/office/drawing/2014/main" id="{6E00A51F-BAB5-4E2F-8F8F-B8655162D386}"/>
              </a:ext>
            </a:extLst>
          </p:cNvPr>
          <p:cNvSpPr>
            <a:spLocks noChangeArrowheads="1"/>
          </p:cNvSpPr>
          <p:nvPr userDrawn="1">
            <p:custDataLst>
              <p:tags r:id="rId4"/>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EF597243-D2CB-4FF3-ABBF-573AD9425AB4}"/>
              </a:ext>
            </a:extLst>
          </p:cNvPr>
          <p:cNvSpPr txBox="1"/>
          <p:nvPr userDrawn="1">
            <p:custDataLst>
              <p:tags r:id="rId5"/>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6" name="Image 1">
            <a:extLst>
              <a:ext uri="{FF2B5EF4-FFF2-40B4-BE49-F238E27FC236}">
                <a16:creationId xmlns:a16="http://schemas.microsoft.com/office/drawing/2014/main" id="{B2C22453-EA85-41AB-83F5-B5FE5ABF0C17}"/>
              </a:ext>
            </a:extLst>
          </p:cNvPr>
          <p:cNvPicPr>
            <a:picLocks/>
          </p:cNvPicPr>
          <p:nvPr userDrawn="1"/>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8" name="Straight Connector 17">
            <a:extLst>
              <a:ext uri="{FF2B5EF4-FFF2-40B4-BE49-F238E27FC236}">
                <a16:creationId xmlns:a16="http://schemas.microsoft.com/office/drawing/2014/main" id="{75BADCBC-553E-4CE5-8A13-806DE45F5F3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9390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01029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C690A15-D7BB-473E-A312-7E2EEFF2A62F}"/>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0" name="Slide Number">
            <a:extLst>
              <a:ext uri="{FF2B5EF4-FFF2-40B4-BE49-F238E27FC236}">
                <a16:creationId xmlns:a16="http://schemas.microsoft.com/office/drawing/2014/main" id="{8A37BD45-02C1-4679-89C7-50402EEF7A47}"/>
              </a:ext>
            </a:extLst>
          </p:cNvPr>
          <p:cNvSpPr>
            <a:spLocks noChangeArrowheads="1"/>
          </p:cNvSpPr>
          <p:nvPr userDrawn="1">
            <p:custDataLst>
              <p:tags r:id="rId2"/>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07CB87-6971-49CB-8B51-75BC00974420}"/>
              </a:ext>
            </a:extLst>
          </p:cNvPr>
          <p:cNvSpPr txBox="1"/>
          <p:nvPr userDrawn="1">
            <p:custDataLst>
              <p:tags r:id="rId3"/>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2" name="Image 1">
            <a:extLst>
              <a:ext uri="{FF2B5EF4-FFF2-40B4-BE49-F238E27FC236}">
                <a16:creationId xmlns:a16="http://schemas.microsoft.com/office/drawing/2014/main" id="{0BC00C92-486C-4E1B-AC09-1E38522A6170}"/>
              </a:ext>
            </a:extLst>
          </p:cNvPr>
          <p:cNvPicPr>
            <a:picLocks/>
          </p:cNvPicPr>
          <p:nvPr userDrawn="1"/>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4" name="Straight Connector 13">
            <a:extLst>
              <a:ext uri="{FF2B5EF4-FFF2-40B4-BE49-F238E27FC236}">
                <a16:creationId xmlns:a16="http://schemas.microsoft.com/office/drawing/2014/main" id="{8A4B76FC-74B5-4A62-9765-3A37F5416694}"/>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610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93962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FD9ED89F-9CA7-4657-BAC6-99C6DEDCDEE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err="1">
              <a:solidFill>
                <a:schemeClr val="bg1"/>
              </a:solidFill>
              <a:latin typeface="Arial" panose="020B0604020202020204" pitchFamily="34" charset="0"/>
              <a:ea typeface="+mj-ea"/>
              <a:cs typeface="+mj-cs"/>
              <a:sym typeface="Arial" panose="020B0604020202020204" pitchFamily="34" charset="0"/>
            </a:endParaRPr>
          </a:p>
        </p:txBody>
      </p:sp>
      <p:pic>
        <p:nvPicPr>
          <p:cNvPr id="5" name="Picture 4">
            <a:extLst>
              <a:ext uri="{FF2B5EF4-FFF2-40B4-BE49-F238E27FC236}">
                <a16:creationId xmlns:a16="http://schemas.microsoft.com/office/drawing/2014/main" id="{969D8104-3A5A-4999-BABF-2151493C4A59}"/>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2C12EC54-3479-4471-BF1F-FEAE8DC2D330}"/>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pic>
        <p:nvPicPr>
          <p:cNvPr id="9" name="Image 1">
            <a:extLst>
              <a:ext uri="{FF2B5EF4-FFF2-40B4-BE49-F238E27FC236}">
                <a16:creationId xmlns:a16="http://schemas.microsoft.com/office/drawing/2014/main" id="{FE6110AF-81C4-44CB-9F12-DF5AA5AB2745}"/>
              </a:ext>
            </a:extLst>
          </p:cNvPr>
          <p:cNvPicPr>
            <a:picLocks/>
          </p:cNvPicPr>
          <p:nvPr userDrawn="1"/>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sp>
        <p:nvSpPr>
          <p:cNvPr id="12" name="2. Slide Title">
            <a:extLst>
              <a:ext uri="{FF2B5EF4-FFF2-40B4-BE49-F238E27FC236}">
                <a16:creationId xmlns:a16="http://schemas.microsoft.com/office/drawing/2014/main" id="{D30F2402-9248-44B8-858E-D5786CBEDB9A}"/>
              </a:ext>
            </a:extLst>
          </p:cNvPr>
          <p:cNvSpPr>
            <a:spLocks noGrp="1"/>
          </p:cNvSpPr>
          <p:nvPr>
            <p:ph type="title"/>
            <p:custDataLst>
              <p:tags r:id="rId3"/>
            </p:custDataLst>
          </p:nvPr>
        </p:nvSpPr>
        <p:spPr>
          <a:xfrm>
            <a:off x="3472544" y="5330229"/>
            <a:ext cx="8362950" cy="677108"/>
          </a:xfrm>
        </p:spPr>
        <p:txBody>
          <a:bodyPr wrap="square" anchor="b">
            <a:spAutoFit/>
          </a:bodyPr>
          <a:lstStyle>
            <a:lvl1pPr>
              <a:lnSpc>
                <a:spcPct val="100000"/>
              </a:lnSpc>
              <a:defRPr sz="4400">
                <a:solidFill>
                  <a:schemeClr val="accent3"/>
                </a:solidFill>
              </a:defRPr>
            </a:lvl1pPr>
          </a:lstStyle>
          <a:p>
            <a:r>
              <a:rPr lang="en-US"/>
              <a:t>Click to edit Master title style</a:t>
            </a:r>
            <a:endParaRPr lang="fr-FR"/>
          </a:p>
        </p:txBody>
      </p:sp>
      <p:sp>
        <p:nvSpPr>
          <p:cNvPr id="15" name="Graphic 13">
            <a:extLst>
              <a:ext uri="{FF2B5EF4-FFF2-40B4-BE49-F238E27FC236}">
                <a16:creationId xmlns:a16="http://schemas.microsoft.com/office/drawing/2014/main" id="{DD80D20C-0D32-4C53-900B-4296B6CA2B98}"/>
              </a:ext>
            </a:extLst>
          </p:cNvPr>
          <p:cNvSpPr/>
          <p:nvPr/>
        </p:nvSpPr>
        <p:spPr>
          <a:xfrm flipH="1">
            <a:off x="31146" y="4685060"/>
            <a:ext cx="5988654" cy="1493869"/>
          </a:xfrm>
          <a:custGeom>
            <a:avLst/>
            <a:gdLst>
              <a:gd name="connsiteX0" fmla="*/ 8357420 w 8357419"/>
              <a:gd name="connsiteY0" fmla="*/ 2084758 h 2084757"/>
              <a:gd name="connsiteX1" fmla="*/ 6555658 w 8357419"/>
              <a:gd name="connsiteY1" fmla="*/ 1200167 h 2084757"/>
              <a:gd name="connsiteX2" fmla="*/ 4186998 w 8357419"/>
              <a:gd name="connsiteY2" fmla="*/ 32559 h 2084757"/>
              <a:gd name="connsiteX3" fmla="*/ 5737118 w 8357419"/>
              <a:gd name="connsiteY3" fmla="*/ 998858 h 2084757"/>
              <a:gd name="connsiteX4" fmla="*/ 6537619 w 8357419"/>
              <a:gd name="connsiteY4" fmla="*/ 1244448 h 2084757"/>
              <a:gd name="connsiteX5" fmla="*/ 5743713 w 8357419"/>
              <a:gd name="connsiteY5" fmla="*/ 1046704 h 2084757"/>
              <a:gd name="connsiteX6" fmla="*/ 5435513 w 8357419"/>
              <a:gd name="connsiteY6" fmla="*/ 1594463 h 2084757"/>
              <a:gd name="connsiteX7" fmla="*/ 5490922 w 8357419"/>
              <a:gd name="connsiteY7" fmla="*/ 1003977 h 2084757"/>
              <a:gd name="connsiteX8" fmla="*/ 4144758 w 8357419"/>
              <a:gd name="connsiteY8" fmla="*/ 62548 h 2084757"/>
              <a:gd name="connsiteX9" fmla="*/ 4055306 w 8357419"/>
              <a:gd name="connsiteY9" fmla="*/ 0 h 2084757"/>
              <a:gd name="connsiteX10" fmla="*/ 4407522 w 8357419"/>
              <a:gd name="connsiteY10" fmla="*/ 1266406 h 2084757"/>
              <a:gd name="connsiteX11" fmla="*/ 5447491 w 8357419"/>
              <a:gd name="connsiteY11" fmla="*/ 1021200 h 2084757"/>
              <a:gd name="connsiteX12" fmla="*/ 5401456 w 8357419"/>
              <a:gd name="connsiteY12" fmla="*/ 1569272 h 2084757"/>
              <a:gd name="connsiteX13" fmla="*/ 5057124 w 8357419"/>
              <a:gd name="connsiteY13" fmla="*/ 1156611 h 2084757"/>
              <a:gd name="connsiteX14" fmla="*/ 4421772 w 8357419"/>
              <a:gd name="connsiteY14" fmla="*/ 1306773 h 2084757"/>
              <a:gd name="connsiteX15" fmla="*/ 4655612 w 8357419"/>
              <a:gd name="connsiteY15" fmla="*/ 2083546 h 2084757"/>
              <a:gd name="connsiteX16" fmla="*/ 0 w 8357419"/>
              <a:gd name="connsiteY16" fmla="*/ 2084758 h 208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57419" h="2084757">
                <a:moveTo>
                  <a:pt x="8357420" y="2084758"/>
                </a:moveTo>
                <a:lnTo>
                  <a:pt x="6555658" y="1200167"/>
                </a:lnTo>
                <a:lnTo>
                  <a:pt x="4186998" y="32559"/>
                </a:lnTo>
                <a:lnTo>
                  <a:pt x="5737118" y="998858"/>
                </a:lnTo>
                <a:lnTo>
                  <a:pt x="6537619" y="1244448"/>
                </a:lnTo>
                <a:lnTo>
                  <a:pt x="5743713" y="1046704"/>
                </a:lnTo>
                <a:lnTo>
                  <a:pt x="5435513" y="1594463"/>
                </a:lnTo>
                <a:lnTo>
                  <a:pt x="5490922" y="1003977"/>
                </a:lnTo>
                <a:lnTo>
                  <a:pt x="4144758" y="62548"/>
                </a:lnTo>
                <a:lnTo>
                  <a:pt x="4055306" y="0"/>
                </a:lnTo>
                <a:lnTo>
                  <a:pt x="4407522" y="1266406"/>
                </a:lnTo>
                <a:lnTo>
                  <a:pt x="5447491" y="1021200"/>
                </a:lnTo>
                <a:lnTo>
                  <a:pt x="5401456" y="1569272"/>
                </a:lnTo>
                <a:lnTo>
                  <a:pt x="5057124" y="1156611"/>
                </a:lnTo>
                <a:lnTo>
                  <a:pt x="4421772" y="1306773"/>
                </a:lnTo>
                <a:lnTo>
                  <a:pt x="4655612" y="2083546"/>
                </a:lnTo>
                <a:lnTo>
                  <a:pt x="0" y="2084758"/>
                </a:lnTo>
              </a:path>
            </a:pathLst>
          </a:custGeom>
          <a:noFill/>
          <a:ln w="25400" cap="flat">
            <a:solidFill>
              <a:schemeClr val="accent3"/>
            </a:solidFill>
            <a:prstDash val="solid"/>
            <a:miter/>
          </a:ln>
        </p:spPr>
        <p:txBody>
          <a:bodyPr rtlCol="0" anchor="ctr"/>
          <a:lstStyle/>
          <a:p>
            <a:endParaRPr lang="fr-FR"/>
          </a:p>
        </p:txBody>
      </p:sp>
      <p:cxnSp>
        <p:nvCxnSpPr>
          <p:cNvPr id="17" name="Straight Connector 16">
            <a:extLst>
              <a:ext uri="{FF2B5EF4-FFF2-40B4-BE49-F238E27FC236}">
                <a16:creationId xmlns:a16="http://schemas.microsoft.com/office/drawing/2014/main" id="{ACE94E2C-A6E1-49EE-9B41-5D3E4488E369}"/>
              </a:ext>
            </a:extLst>
          </p:cNvPr>
          <p:cNvCxnSpPr/>
          <p:nvPr userDrawn="1"/>
        </p:nvCxnSpPr>
        <p:spPr>
          <a:xfrm>
            <a:off x="4267200" y="6178929"/>
            <a:ext cx="7924800" cy="0"/>
          </a:xfrm>
          <a:prstGeom prst="line">
            <a:avLst/>
          </a:prstGeom>
          <a:ln w="254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5. Source" hidden="1">
            <a:extLst>
              <a:ext uri="{FF2B5EF4-FFF2-40B4-BE49-F238E27FC236}">
                <a16:creationId xmlns:a16="http://schemas.microsoft.com/office/drawing/2014/main" id="{18F325DE-8CF4-477C-8613-28EBE0F31C60}"/>
              </a:ext>
            </a:extLst>
          </p:cNvPr>
          <p:cNvSpPr txBox="1"/>
          <p:nvPr userDrawn="1">
            <p:custDataLst>
              <p:tags r:id="rId4"/>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Tree>
    <p:extLst>
      <p:ext uri="{BB962C8B-B14F-4D97-AF65-F5344CB8AC3E}">
        <p14:creationId xmlns:p14="http://schemas.microsoft.com/office/powerpoint/2010/main" val="2797980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4698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Bahnschrift Condensed" panose="020B0502040204020203" pitchFamily="34" charset="0"/>
              <a:ea typeface="+mj-ea"/>
              <a:cs typeface="+mj-cs"/>
              <a:sym typeface="Bahnschrift Condensed" panose="020B0502040204020203"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nchor="b"/>
          <a:lstStyle/>
          <a:p>
            <a:r>
              <a:rPr lang="en-US"/>
              <a:t>Click to edit Master title style</a:t>
            </a:r>
            <a:endParaRPr lang="fr-F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1F2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58613"/>
            <a:ext cx="6967728" cy="276999"/>
          </a:xfrm>
          <a:prstGeom prst="rect">
            <a:avLst/>
          </a:prstGeom>
        </p:spPr>
        <p:txBody>
          <a:bodyPr wrap="square">
            <a:noAutofit/>
          </a:bodyPr>
          <a:lstStyle>
            <a:lvl1pPr marL="0" indent="0" algn="l">
              <a:buNone/>
              <a:defRPr lang="fr-FR" sz="1800" b="0" kern="1200" dirty="0">
                <a:solidFill>
                  <a:schemeClr val="accent5"/>
                </a:solidFill>
                <a:latin typeface="+mn-lt"/>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pPr>
            <a:r>
              <a:rPr lang="en-US"/>
              <a:t>Click to edit Master subtitle style</a:t>
            </a:r>
            <a:endParaRPr lang="fr-FR"/>
          </a:p>
        </p:txBody>
      </p:sp>
      <p:sp>
        <p:nvSpPr>
          <p:cNvPr id="21" name="5. Source" hidden="1">
            <a:extLst>
              <a:ext uri="{FF2B5EF4-FFF2-40B4-BE49-F238E27FC236}">
                <a16:creationId xmlns:a16="http://schemas.microsoft.com/office/drawing/2014/main" id="{F25A304F-F50E-4F96-991D-CFEB07060178}"/>
              </a:ext>
            </a:extLst>
          </p:cNvPr>
          <p:cNvSpPr txBox="1">
            <a:spLocks/>
          </p:cNvSpPr>
          <p:nvPr userDrawn="1">
            <p:custDataLst>
              <p:tags r:id="rId7"/>
            </p:custDataLst>
          </p:nvPr>
        </p:nvSpPr>
        <p:spPr>
          <a:xfrm>
            <a:off x="554735" y="6501669"/>
            <a:ext cx="6967728"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kern="1200" dirty="0">
                <a:solidFill>
                  <a:schemeClr val="accent5"/>
                </a:solidFill>
                <a:latin typeface="+mn-lt"/>
                <a:ea typeface="+mn-ea"/>
                <a:cs typeface="+mn-cs"/>
              </a:defRPr>
            </a:lvl1pPr>
          </a:lstStyle>
          <a:p>
            <a:pPr marL="0" lv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pPr>
            <a:r>
              <a:rPr lang="fr-FR" err="1"/>
              <a:t>Add</a:t>
            </a:r>
            <a:r>
              <a:rPr lang="fr-FR"/>
              <a:t> tracker</a:t>
            </a:r>
          </a:p>
        </p:txBody>
      </p:sp>
    </p:spTree>
    <p:extLst>
      <p:ext uri="{BB962C8B-B14F-4D97-AF65-F5344CB8AC3E}">
        <p14:creationId xmlns:p14="http://schemas.microsoft.com/office/powerpoint/2010/main" val="4157003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1722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7387148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15100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Segoe UI" panose="020B0502040204020203" pitchFamily="34" charset="0"/>
              <a:ea typeface="+mj-ea"/>
              <a:cs typeface="+mj-cs"/>
              <a:sym typeface="Segoe UI"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89578"/>
            <a:ext cx="11082528" cy="384721"/>
          </a:xfrm>
        </p:spPr>
        <p:txBody>
          <a:bodyPr vert="horz" wrap="square" lIns="0" tIns="0" rIns="0" bIns="0" rtlCol="0" anchor="b" anchorCtr="0">
            <a:spAutoFit/>
          </a:bodyPr>
          <a:lstStyle>
            <a:lvl1pPr>
              <a:defRPr lang="fr-FR" dirty="0"/>
            </a:lvl1pPr>
          </a:lstStyle>
          <a:p>
            <a:pPr lvl="0"/>
            <a:r>
              <a:rPr lang="fr-FR"/>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77765"/>
            <a:ext cx="11082528" cy="276999"/>
          </a:xfrm>
          <a:prstGeom prst="rect">
            <a:avLst/>
          </a:prstGeom>
        </p:spPr>
        <p:txBody>
          <a:bodyPr vert="horz" wrap="square" lIns="0" tIns="0" rIns="0" bIns="0" rtlCol="0">
            <a:spAutoFit/>
          </a:bodyPr>
          <a:lstStyle>
            <a:lvl1pPr>
              <a:defRPr lang="fr-FR" sz="1800" b="0" dirty="0"/>
            </a:lvl1pPr>
          </a:lstStyle>
          <a:p>
            <a:pPr lvl="0">
              <a:buNone/>
            </a:pPr>
            <a:r>
              <a:rPr lang="fr-FR"/>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975360" y="6483366"/>
            <a:ext cx="685723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sp>
        <p:nvSpPr>
          <p:cNvPr id="10" name="Slide Number">
            <a:extLst>
              <a:ext uri="{FF2B5EF4-FFF2-40B4-BE49-F238E27FC236}">
                <a16:creationId xmlns:a16="http://schemas.microsoft.com/office/drawing/2014/main" id="{E471DC13-8E70-48E8-BA5F-5FB5C14C3746}"/>
              </a:ext>
            </a:extLst>
          </p:cNvPr>
          <p:cNvSpPr>
            <a:spLocks noChangeArrowheads="1"/>
          </p:cNvSpPr>
          <p:nvPr userDrawn="1">
            <p:custDataLst>
              <p:tags r:id="rId7"/>
            </p:custDataLst>
          </p:nvPr>
        </p:nvSpPr>
        <p:spPr bwMode="black">
          <a:xfrm>
            <a:off x="11464643"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1351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6710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7" y="957798"/>
            <a:ext cx="9697339" cy="27699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err="1"/>
              <a:t>Add</a:t>
            </a:r>
            <a:r>
              <a:rPr lang="fr-FR"/>
              <a:t> tracker</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9BCF726D-141E-4745-99D5-9B56690ECA63}"/>
              </a:ext>
            </a:extLst>
          </p:cNvPr>
          <p:cNvGrpSpPr/>
          <p:nvPr userDrawn="1"/>
        </p:nvGrpSpPr>
        <p:grpSpPr>
          <a:xfrm>
            <a:off x="9103464" y="33039"/>
            <a:ext cx="3007663" cy="466922"/>
            <a:chOff x="4552730" y="6271009"/>
            <a:chExt cx="3007663" cy="466922"/>
          </a:xfrm>
        </p:grpSpPr>
        <p:pic>
          <p:nvPicPr>
            <p:cNvPr id="25" name="Image 1">
              <a:extLst>
                <a:ext uri="{FF2B5EF4-FFF2-40B4-BE49-F238E27FC236}">
                  <a16:creationId xmlns:a16="http://schemas.microsoft.com/office/drawing/2014/main" id="{0F2EE734-1366-4D09-B920-0425C2E583D6}"/>
                </a:ext>
              </a:extLst>
            </p:cNvPr>
            <p:cNvPicPr>
              <a:picLocks/>
            </p:cNvPicPr>
            <p:nvPr userDrawn="1"/>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l="7375" t="11504" r="7397" b="8443"/>
            <a:stretch/>
          </p:blipFill>
          <p:spPr>
            <a:xfrm>
              <a:off x="5749413" y="6271009"/>
              <a:ext cx="693174" cy="466922"/>
            </a:xfrm>
            <a:prstGeom prst="rect">
              <a:avLst/>
            </a:prstGeom>
          </p:spPr>
        </p:pic>
        <p:pic>
          <p:nvPicPr>
            <p:cNvPr id="26" name="Image 15">
              <a:extLst>
                <a:ext uri="{FF2B5EF4-FFF2-40B4-BE49-F238E27FC236}">
                  <a16:creationId xmlns:a16="http://schemas.microsoft.com/office/drawing/2014/main" id="{2BB77CDA-04F0-4203-8744-74DF10049B52}"/>
                </a:ext>
              </a:extLst>
            </p:cNvPr>
            <p:cNvPicPr>
              <a:picLocks noChangeAspect="1"/>
            </p:cNvPicPr>
            <p:nvPr userDrawn="1"/>
          </p:nvPicPr>
          <p:blipFill rotWithShape="1">
            <a:blip r:embed="rId12" cstate="print"/>
            <a:srcRect t="11816" b="-1"/>
            <a:stretch/>
          </p:blipFill>
          <p:spPr>
            <a:xfrm>
              <a:off x="4552730" y="6372335"/>
              <a:ext cx="960188" cy="264269"/>
            </a:xfrm>
            <a:prstGeom prst="rect">
              <a:avLst/>
            </a:prstGeom>
          </p:spPr>
        </p:pic>
        <p:pic>
          <p:nvPicPr>
            <p:cNvPr id="27" name="Picture 2" descr="Agence du Numérique en Santé (ANS) | G_NIUS">
              <a:extLst>
                <a:ext uri="{FF2B5EF4-FFF2-40B4-BE49-F238E27FC236}">
                  <a16:creationId xmlns:a16="http://schemas.microsoft.com/office/drawing/2014/main" id="{DB47D623-D1C1-43A0-9898-A2CCAB488FD8}"/>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11750" t="34545" r="12000" b="35000"/>
            <a:stretch/>
          </p:blipFill>
          <p:spPr bwMode="auto">
            <a:xfrm>
              <a:off x="6679082" y="6328897"/>
              <a:ext cx="881311" cy="19359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age de garde standard">
    <p:spTree>
      <p:nvGrpSpPr>
        <p:cNvPr id="1" name=""/>
        <p:cNvGrpSpPr/>
        <p:nvPr/>
      </p:nvGrpSpPr>
      <p:grpSpPr>
        <a:xfrm>
          <a:off x="0" y="0"/>
          <a:ext cx="0" cy="0"/>
          <a:chOff x="0" y="0"/>
          <a:chExt cx="0" cy="0"/>
        </a:xfrm>
      </p:grpSpPr>
      <p:sp>
        <p:nvSpPr>
          <p:cNvPr id="9" name="Rectangle 8"/>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
        <p:nvSpPr>
          <p:cNvPr id="10" name="Rectangle 9"/>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2" name="Rectangle 11"/>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15" name="Imag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6678738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p:txBody>
          <a:bodyPr/>
          <a:lstStyle/>
          <a:p>
            <a:endParaRPr lang="fr-FR">
              <a:latin typeface="Arial"/>
              <a:ea typeface="+mn-ea"/>
            </a:endParaRP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1638051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19466328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61160613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208946916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3"/>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27452193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1067"/>
            </a:lvl1pPr>
          </a:lstStyle>
          <a:p>
            <a:endParaRPr lang="fr-FR">
              <a:latin typeface="Arial"/>
              <a:ea typeface="+mn-ea"/>
            </a:endParaRP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14772422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247067061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ZoneTexte 7"/>
          <p:cNvSpPr txBox="1"/>
          <p:nvPr/>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9" name="Picture 2" descr="Y:\Interne\Communication\Communication_2019\Crea_graphiques\Pictos\Picto_OK\Twitter_Logo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6214" y="3757011"/>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3" descr="Y:\Interne\Communication\Communication_2019\Crea_graphiques\Pictos\Picto_OK\LINKEDIN@2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0463" y="3821943"/>
            <a:ext cx="3502028" cy="960107"/>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ZoneTexte 13"/>
          <p:cNvSpPr txBox="1"/>
          <p:nvPr userDrawn="1"/>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17" name="Picture 2" descr="Y:\Interne\Communication\Communication_2019\Crea_graphiques\Pictos\Picto_OK\Twitter_Logo_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406214" y="3757011"/>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3" descr="Y:\Interne\Communication\Communication_2019\Crea_graphiques\Pictos\Picto_OK\LINKEDIN@2x.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10463" y="3821943"/>
            <a:ext cx="3502028" cy="960107"/>
          </a:xfrm>
          <a:prstGeom prst="rect">
            <a:avLst/>
          </a:prstGeom>
        </p:spPr>
      </p:pic>
      <p:pic>
        <p:nvPicPr>
          <p:cNvPr id="20" name="Image 1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224319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95556853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77524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wrap="square" anchor="t">
            <a:spAutoFit/>
          </a:bodyPr>
          <a:lstStyle>
            <a:lvl1pPr>
              <a:lnSpc>
                <a:spcPct val="90000"/>
              </a:lnSpc>
              <a:defRPr>
                <a:ln w="6350" cap="flat">
                  <a:noFill/>
                  <a:miter lim="800000"/>
                </a:ln>
              </a:defRPr>
            </a:lvl1pPr>
          </a:lstStyle>
          <a:p>
            <a:r>
              <a:rPr lang="en-US"/>
              <a:t>Click to edit Master title style</a:t>
            </a:r>
            <a:endParaRPr lang="fr-F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8" name="Rectangle 7">
            <a:extLst>
              <a:ext uri="{FF2B5EF4-FFF2-40B4-BE49-F238E27FC236}">
                <a16:creationId xmlns:a16="http://schemas.microsoft.com/office/drawing/2014/main" id="{DD74AAB3-7E91-4C95-A8E0-ED8A1D8973B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CA8CFFB9-B451-4FA2-B50D-BE8D26AFB40E}"/>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E60F8CD6-D954-4852-A01C-8EE78D7BCD9D}"/>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51E9A3AF-4090-4EF4-B563-8D0477B8CE71}"/>
              </a:ext>
            </a:extLst>
          </p:cNvPr>
          <p:cNvPicPr>
            <a:picLocks/>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6" name="Straight Connector 15">
            <a:extLst>
              <a:ext uri="{FF2B5EF4-FFF2-40B4-BE49-F238E27FC236}">
                <a16:creationId xmlns:a16="http://schemas.microsoft.com/office/drawing/2014/main" id="{1BA12C34-29EE-43F5-92CC-2CB2B2F15E9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age de garde standard">
    <p:spTree>
      <p:nvGrpSpPr>
        <p:cNvPr id="1" name=""/>
        <p:cNvGrpSpPr/>
        <p:nvPr/>
      </p:nvGrpSpPr>
      <p:grpSpPr>
        <a:xfrm>
          <a:off x="0" y="0"/>
          <a:ext cx="0" cy="0"/>
          <a:chOff x="0" y="0"/>
          <a:chExt cx="0" cy="0"/>
        </a:xfrm>
      </p:grpSpPr>
      <p:sp>
        <p:nvSpPr>
          <p:cNvPr id="9" name="Rectangle 8"/>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8" y="2244363"/>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8" y="3754141"/>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sp>
        <p:nvSpPr>
          <p:cNvPr id="16" name="Rectangle 15"/>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8"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5315" y="2614471"/>
            <a:ext cx="1846271" cy="1629063"/>
          </a:xfrm>
          <a:prstGeom prst="rect">
            <a:avLst/>
          </a:prstGeom>
        </p:spPr>
      </p:pic>
      <p:sp>
        <p:nvSpPr>
          <p:cNvPr id="10" name="Rectangle 9"/>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sp>
        <p:nvSpPr>
          <p:cNvPr id="12" name="Rectangle 11"/>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Espace réservé du texte 21">
            <a:extLst>
              <a:ext uri="{FF2B5EF4-FFF2-40B4-BE49-F238E27FC236}">
                <a16:creationId xmlns:a16="http://schemas.microsoft.com/office/drawing/2014/main" id="{FC509A42-19AD-CE45-9631-39CA09E7EA3F}"/>
              </a:ext>
            </a:extLst>
          </p:cNvPr>
          <p:cNvSpPr>
            <a:spLocks noGrp="1"/>
          </p:cNvSpPr>
          <p:nvPr>
            <p:ph type="body" sz="quarter" idx="12" hasCustomPrompt="1"/>
          </p:nvPr>
        </p:nvSpPr>
        <p:spPr>
          <a:xfrm>
            <a:off x="5615948"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15" name="Imag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85581310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4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p:txBody>
          <a:bodyPr/>
          <a:lstStyle/>
          <a:p>
            <a:endParaRPr lang="fr-FR">
              <a:latin typeface="Arial"/>
              <a:ea typeface="+mn-ea"/>
            </a:endParaRP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35868020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2" y="192021"/>
            <a:ext cx="1746908" cy="6405331"/>
          </a:xfrm>
          <a:prstGeom prst="rect">
            <a:avLst/>
          </a:prstGeom>
        </p:spPr>
      </p:pic>
      <p:sp>
        <p:nvSpPr>
          <p:cNvPr id="17" name="Titre 1"/>
          <p:cNvSpPr>
            <a:spLocks noGrp="1"/>
          </p:cNvSpPr>
          <p:nvPr>
            <p:ph type="ctrTitle" hasCustomPrompt="1"/>
          </p:nvPr>
        </p:nvSpPr>
        <p:spPr>
          <a:xfrm>
            <a:off x="5903384" y="2244363"/>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1"/>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2"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32115267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1" y="3008"/>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72"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5"/>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40" y="6333324"/>
            <a:ext cx="383117" cy="365125"/>
          </a:xfrm>
        </p:spPr>
        <p:txBody>
          <a:bodyPr/>
          <a:lstStyle/>
          <a:p>
            <a:fld id="{646E7B68-C406-4B5C-B79D-A1CDE10CB85D}" type="slidenum">
              <a:rPr lang="fr-FR" smtClean="0"/>
              <a:pPr/>
              <a:t>‹N°›</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1" y="3008"/>
            <a:ext cx="10029481" cy="6854995"/>
          </a:xfrm>
          <a:prstGeom prst="rect">
            <a:avLst/>
          </a:prstGeom>
        </p:spPr>
      </p:pic>
    </p:spTree>
    <p:extLst>
      <p:ext uri="{BB962C8B-B14F-4D97-AF65-F5344CB8AC3E}">
        <p14:creationId xmlns:p14="http://schemas.microsoft.com/office/powerpoint/2010/main" val="332564840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2"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2" y="1316569"/>
            <a:ext cx="3647943" cy="2495551"/>
          </a:xfrm>
          <a:prstGeom prst="rect">
            <a:avLst/>
          </a:prstGeom>
        </p:spPr>
        <p:txBody>
          <a:bodyPr/>
          <a:lstStyle>
            <a:lvl1pPr>
              <a:defRPr sz="3733" kern="800" cap="all" baseline="0"/>
            </a:lvl1pPr>
            <a:lvl2pPr marL="578972"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6" y="1316569"/>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2" y="252952"/>
            <a:ext cx="876497" cy="775781"/>
          </a:xfrm>
          <a:prstGeom prst="rect">
            <a:avLst/>
          </a:prstGeom>
        </p:spPr>
      </p:pic>
    </p:spTree>
    <p:extLst>
      <p:ext uri="{BB962C8B-B14F-4D97-AF65-F5344CB8AC3E}">
        <p14:creationId xmlns:p14="http://schemas.microsoft.com/office/powerpoint/2010/main" val="35906643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3"/>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24578967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19"/>
          </p:nvPr>
        </p:nvSpPr>
        <p:spPr/>
        <p:txBody>
          <a:bodyPr/>
          <a:lstStyle>
            <a:lvl1pPr>
              <a:defRPr sz="1067"/>
            </a:lvl1pPr>
          </a:lstStyle>
          <a:p>
            <a:endParaRPr lang="fr-FR">
              <a:latin typeface="Arial"/>
              <a:ea typeface="+mn-ea"/>
            </a:endParaRPr>
          </a:p>
        </p:txBody>
      </p:sp>
      <p:sp>
        <p:nvSpPr>
          <p:cNvPr id="7" name="Espace réservé du texte 2"/>
          <p:cNvSpPr>
            <a:spLocks noGrp="1"/>
          </p:cNvSpPr>
          <p:nvPr>
            <p:ph idx="1"/>
          </p:nvPr>
        </p:nvSpPr>
        <p:spPr>
          <a:xfrm>
            <a:off x="1103445" y="1124745"/>
            <a:ext cx="10753195" cy="499255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27601990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a:p>
        </p:txBody>
      </p:sp>
      <p:sp>
        <p:nvSpPr>
          <p:cNvPr id="11" name="Espace réservé du contenu 10"/>
          <p:cNvSpPr>
            <a:spLocks noGrp="1"/>
          </p:cNvSpPr>
          <p:nvPr>
            <p:ph sz="quarter" idx="16"/>
          </p:nvPr>
        </p:nvSpPr>
        <p:spPr>
          <a:xfrm>
            <a:off x="1103448" y="1124745"/>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7" y="1124745"/>
            <a:ext cx="5185833" cy="4992555"/>
          </a:xfrm>
        </p:spPr>
        <p:txBody>
          <a:bodyPr/>
          <a:lstStyle>
            <a:lvl1pPr marL="0" indent="0">
              <a:buNone/>
              <a:defRPr/>
            </a:lvl1pPr>
            <a:lvl2pPr>
              <a:defRPr>
                <a:solidFill>
                  <a:schemeClr val="tx2"/>
                </a:solidFill>
              </a:defRPr>
            </a:lvl2pPr>
            <a:lvl3pPr>
              <a:defRPr>
                <a:solidFill>
                  <a:srgbClr val="575757"/>
                </a:solidFill>
              </a:defRPr>
            </a:lvl3pPr>
            <a:lvl4pPr>
              <a:defRPr>
                <a:solidFill>
                  <a:srgbClr val="575757"/>
                </a:solidFill>
              </a:defRPr>
            </a:lvl4pPr>
            <a:lvl5pPr>
              <a:defRPr>
                <a:solidFill>
                  <a:srgbClr val="575757"/>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endParaRPr lang="fr-FR">
              <a:latin typeface="Arial"/>
              <a:ea typeface="+mn-ea"/>
            </a:endParaRPr>
          </a:p>
        </p:txBody>
      </p:sp>
    </p:spTree>
    <p:extLst>
      <p:ext uri="{BB962C8B-B14F-4D97-AF65-F5344CB8AC3E}">
        <p14:creationId xmlns:p14="http://schemas.microsoft.com/office/powerpoint/2010/main" val="196732776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ZoneTexte 7"/>
          <p:cNvSpPr txBox="1"/>
          <p:nvPr/>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9" name="Picture 2" descr="Y:\Interne\Communication\Communication_2019\Crea_graphiques\Pictos\Picto_OK\Twitter_Logo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6215" y="3757012"/>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3" descr="Y:\Interne\Communication\Communication_2019\Crea_graphiques\Pictos\Picto_OK\LINKEDIN@2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0463" y="3821944"/>
            <a:ext cx="3502028" cy="960107"/>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pic>
        <p:nvPicPr>
          <p:cNvPr id="16" name="Imag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ZoneTexte 13"/>
          <p:cNvSpPr txBox="1"/>
          <p:nvPr userDrawn="1"/>
        </p:nvSpPr>
        <p:spPr>
          <a:xfrm>
            <a:off x="6424115" y="1682636"/>
            <a:ext cx="4320480" cy="3372488"/>
          </a:xfrm>
          <a:prstGeom prst="rect">
            <a:avLst/>
          </a:prstGeom>
          <a:noFill/>
        </p:spPr>
        <p:txBody>
          <a:bodyPr wrap="square" lIns="96000" tIns="144000" rIns="96000" bIns="144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17" name="Picture 2" descr="Y:\Interne\Communication\Communication_2019\Crea_graphiques\Pictos\Picto_OK\Twitter_Logo_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406215" y="3757012"/>
            <a:ext cx="562781" cy="5627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3" descr="Y:\Interne\Communication\Communication_2019\Crea_graphiques\Pictos\Picto_OK\LINKEDIN@2x.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9604" y="4362411"/>
            <a:ext cx="336000" cy="3360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10463" y="3821944"/>
            <a:ext cx="3502028" cy="960107"/>
          </a:xfrm>
          <a:prstGeom prst="rect">
            <a:avLst/>
          </a:prstGeom>
        </p:spPr>
      </p:pic>
      <p:pic>
        <p:nvPicPr>
          <p:cNvPr id="20" name="Image 1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pic>
        <p:nvPicPr>
          <p:cNvPr id="21" name="Imag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248112248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8" y="2244363"/>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8" y="3754141"/>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8"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134402400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26733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wrap="square" rIns="365760" anchor="ctr">
            <a:spAutoFit/>
          </a:bodyPr>
          <a:lstStyle>
            <a:lvl1pPr>
              <a:defRPr>
                <a:ln w="6350" cap="flat">
                  <a:noFill/>
                  <a:miter lim="800000"/>
                </a:ln>
              </a:defRPr>
            </a:lvl1pPr>
          </a:lstStyle>
          <a:p>
            <a:r>
              <a:rPr lang="en-US"/>
              <a:t>Click to edit Master title style</a:t>
            </a:r>
            <a:endParaRPr lang="fr-F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Rectangle 10">
            <a:extLst>
              <a:ext uri="{FF2B5EF4-FFF2-40B4-BE49-F238E27FC236}">
                <a16:creationId xmlns:a16="http://schemas.microsoft.com/office/drawing/2014/main" id="{3FF8B3EB-C90A-42CB-A7E1-A9949DC1A7D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88C49D00-8AF8-47FC-A768-2DE070D207C2}"/>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383323A4-CF0F-4263-9EBE-761D7961B974}"/>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DABE0F73-33D4-4989-8739-6701CEA83C61}"/>
              </a:ext>
            </a:extLst>
          </p:cNvPr>
          <p:cNvPicPr>
            <a:picLocks/>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6" name="Straight Connector 15">
            <a:extLst>
              <a:ext uri="{FF2B5EF4-FFF2-40B4-BE49-F238E27FC236}">
                <a16:creationId xmlns:a16="http://schemas.microsoft.com/office/drawing/2014/main" id="{51B32D78-7EB9-4764-B0AD-58E3C6F7904F}"/>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9707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581931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userDrawn="1">
            <p:ph type="title"/>
            <p:custDataLst>
              <p:tags r:id="rId3"/>
            </p:custDataLst>
          </p:nvPr>
        </p:nvSpPr>
        <p:spPr>
          <a:xfrm>
            <a:off x="4395019" y="4103391"/>
            <a:ext cx="7242245" cy="1354217"/>
          </a:xfrm>
        </p:spPr>
        <p:txBody>
          <a:bodyPr wrap="square" anchor="b">
            <a:noAutofit/>
          </a:bodyPr>
          <a:lstStyle>
            <a:lvl1pPr>
              <a:lnSpc>
                <a:spcPct val="100000"/>
              </a:lnSpc>
              <a:defRPr sz="4400"/>
            </a:lvl1pPr>
          </a:lstStyle>
          <a:p>
            <a:r>
              <a:rPr lang="en-US"/>
              <a:t>Click to edit Master title style</a:t>
            </a:r>
            <a:endParaRPr lang="fr-FR"/>
          </a:p>
        </p:txBody>
      </p:sp>
      <p:sp>
        <p:nvSpPr>
          <p:cNvPr id="9" name="1. On-page tracker">
            <a:extLst>
              <a:ext uri="{FF2B5EF4-FFF2-40B4-BE49-F238E27FC236}">
                <a16:creationId xmlns:a16="http://schemas.microsoft.com/office/drawing/2014/main" id="{FA764DC8-CEA6-42F3-8E66-7C768AAD275E}"/>
              </a:ext>
            </a:extLst>
          </p:cNvPr>
          <p:cNvSpPr>
            <a:spLocks noGrp="1"/>
          </p:cNvSpPr>
          <p:nvPr userDrawn="1">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fr-FR" err="1"/>
              <a:t>Add</a:t>
            </a:r>
            <a:r>
              <a:rPr lang="fr-FR"/>
              <a:t> tracker</a:t>
            </a:r>
          </a:p>
        </p:txBody>
      </p:sp>
      <p:sp>
        <p:nvSpPr>
          <p:cNvPr id="11" name="Slide Number">
            <a:extLst>
              <a:ext uri="{FF2B5EF4-FFF2-40B4-BE49-F238E27FC236}">
                <a16:creationId xmlns:a16="http://schemas.microsoft.com/office/drawing/2014/main" id="{1D3B5CF6-D26A-449D-91D0-DBF9826945E6}"/>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72030B-855D-4957-8595-E303B238C81F}"/>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fr-FR">
                <a:solidFill>
                  <a:schemeClr val="tx1"/>
                </a:solidFill>
              </a:rPr>
              <a:t>Source: …</a:t>
            </a:r>
          </a:p>
        </p:txBody>
      </p:sp>
      <p:cxnSp>
        <p:nvCxnSpPr>
          <p:cNvPr id="15" name="Straight Connector 14">
            <a:extLst>
              <a:ext uri="{FF2B5EF4-FFF2-40B4-BE49-F238E27FC236}">
                <a16:creationId xmlns:a16="http://schemas.microsoft.com/office/drawing/2014/main" id="{FC710139-C9F3-4C6C-820F-1A0B3EF7FA7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F5F038A-5B38-448F-B35A-0D354E748CB1}"/>
              </a:ext>
            </a:extLst>
          </p:cNvPr>
          <p:cNvCxnSpPr>
            <a:cxnSpLocks/>
          </p:cNvCxnSpPr>
          <p:nvPr userDrawn="1"/>
        </p:nvCxnSpPr>
        <p:spPr>
          <a:xfrm>
            <a:off x="4114800" y="5609486"/>
            <a:ext cx="3619500" cy="0"/>
          </a:xfrm>
          <a:prstGeom prst="line">
            <a:avLst/>
          </a:prstGeom>
          <a:ln w="19050"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raphic 24">
            <a:extLst>
              <a:ext uri="{FF2B5EF4-FFF2-40B4-BE49-F238E27FC236}">
                <a16:creationId xmlns:a16="http://schemas.microsoft.com/office/drawing/2014/main" id="{1C71EF49-0B0C-4903-9CFE-C4F3F09EB414}"/>
              </a:ext>
            </a:extLst>
          </p:cNvPr>
          <p:cNvSpPr/>
          <p:nvPr/>
        </p:nvSpPr>
        <p:spPr>
          <a:xfrm>
            <a:off x="8384" y="3018908"/>
            <a:ext cx="4209222" cy="2590578"/>
          </a:xfrm>
          <a:custGeom>
            <a:avLst/>
            <a:gdLst>
              <a:gd name="connsiteX0" fmla="*/ 4209222 w 4209222"/>
              <a:gd name="connsiteY0" fmla="*/ 2590181 h 2590578"/>
              <a:gd name="connsiteX1" fmla="*/ 2931283 w 4209222"/>
              <a:gd name="connsiteY1" fmla="*/ 2583641 h 2590578"/>
              <a:gd name="connsiteX2" fmla="*/ 2882844 w 4209222"/>
              <a:gd name="connsiteY2" fmla="*/ 2395796 h 2590578"/>
              <a:gd name="connsiteX3" fmla="*/ 3108526 w 4209222"/>
              <a:gd name="connsiteY3" fmla="*/ 1703743 h 2590578"/>
              <a:gd name="connsiteX4" fmla="*/ 3045254 w 4209222"/>
              <a:gd name="connsiteY4" fmla="*/ 1646474 h 2590578"/>
              <a:gd name="connsiteX5" fmla="*/ 2960974 w 4209222"/>
              <a:gd name="connsiteY5" fmla="*/ 1569589 h 2590578"/>
              <a:gd name="connsiteX6" fmla="*/ 3049171 w 4209222"/>
              <a:gd name="connsiteY6" fmla="*/ 1613195 h 2590578"/>
              <a:gd name="connsiteX7" fmla="*/ 3116418 w 4209222"/>
              <a:gd name="connsiteY7" fmla="*/ 1571048 h 2590578"/>
              <a:gd name="connsiteX8" fmla="*/ 3341096 w 4209222"/>
              <a:gd name="connsiteY8" fmla="*/ 1507759 h 2590578"/>
              <a:gd name="connsiteX9" fmla="*/ 3501232 w 4209222"/>
              <a:gd name="connsiteY9" fmla="*/ 1451285 h 2590578"/>
              <a:gd name="connsiteX10" fmla="*/ 3586998 w 4209222"/>
              <a:gd name="connsiteY10" fmla="*/ 1397698 h 2590578"/>
              <a:gd name="connsiteX11" fmla="*/ 3678891 w 4209222"/>
              <a:gd name="connsiteY11" fmla="*/ 1333272 h 2590578"/>
              <a:gd name="connsiteX12" fmla="*/ 3642771 w 4209222"/>
              <a:gd name="connsiteY12" fmla="*/ 1291736 h 2590578"/>
              <a:gd name="connsiteX13" fmla="*/ 3666952 w 4209222"/>
              <a:gd name="connsiteY13" fmla="*/ 1254566 h 2590578"/>
              <a:gd name="connsiteX14" fmla="*/ 3488287 w 4209222"/>
              <a:gd name="connsiteY14" fmla="*/ 1329557 h 2590578"/>
              <a:gd name="connsiteX15" fmla="*/ 3333641 w 4209222"/>
              <a:gd name="connsiteY15" fmla="*/ 1362034 h 2590578"/>
              <a:gd name="connsiteX16" fmla="*/ 3225143 w 4209222"/>
              <a:gd name="connsiteY16" fmla="*/ 1356937 h 2590578"/>
              <a:gd name="connsiteX17" fmla="*/ 3422975 w 4209222"/>
              <a:gd name="connsiteY17" fmla="*/ 1343237 h 2590578"/>
              <a:gd name="connsiteX18" fmla="*/ 3305406 w 4209222"/>
              <a:gd name="connsiteY18" fmla="*/ 1302029 h 2590578"/>
              <a:gd name="connsiteX19" fmla="*/ 3142939 w 4209222"/>
              <a:gd name="connsiteY19" fmla="*/ 1156170 h 2590578"/>
              <a:gd name="connsiteX20" fmla="*/ 2932470 w 4209222"/>
              <a:gd name="connsiteY20" fmla="*/ 1015892 h 2590578"/>
              <a:gd name="connsiteX21" fmla="*/ 2909577 w 4209222"/>
              <a:gd name="connsiteY21" fmla="*/ 630571 h 2590578"/>
              <a:gd name="connsiteX22" fmla="*/ 3251430 w 4209222"/>
              <a:gd name="connsiteY22" fmla="*/ 879337 h 2590578"/>
              <a:gd name="connsiteX23" fmla="*/ 3215645 w 4209222"/>
              <a:gd name="connsiteY23" fmla="*/ 782020 h 2590578"/>
              <a:gd name="connsiteX24" fmla="*/ 3617819 w 4209222"/>
              <a:gd name="connsiteY24" fmla="*/ 793926 h 2590578"/>
              <a:gd name="connsiteX25" fmla="*/ 3231157 w 4209222"/>
              <a:gd name="connsiteY25" fmla="*/ 1278653 h 2590578"/>
              <a:gd name="connsiteX26" fmla="*/ 3147141 w 4209222"/>
              <a:gd name="connsiteY26" fmla="*/ 1317976 h 2590578"/>
              <a:gd name="connsiteX27" fmla="*/ 2956372 w 4209222"/>
              <a:gd name="connsiteY27" fmla="*/ 1465196 h 2590578"/>
              <a:gd name="connsiteX28" fmla="*/ 2909836 w 4209222"/>
              <a:gd name="connsiteY28" fmla="*/ 1492426 h 2590578"/>
              <a:gd name="connsiteX29" fmla="*/ 2829184 w 4209222"/>
              <a:gd name="connsiteY29" fmla="*/ 1766958 h 2590578"/>
              <a:gd name="connsiteX30" fmla="*/ 2633016 w 4209222"/>
              <a:gd name="connsiteY30" fmla="*/ 2024185 h 2590578"/>
              <a:gd name="connsiteX31" fmla="*/ 2488670 w 4209222"/>
              <a:gd name="connsiteY31" fmla="*/ 2108238 h 2590578"/>
              <a:gd name="connsiteX32" fmla="*/ 2609811 w 4209222"/>
              <a:gd name="connsiteY32" fmla="*/ 2092626 h 2590578"/>
              <a:gd name="connsiteX33" fmla="*/ 2544077 w 4209222"/>
              <a:gd name="connsiteY33" fmla="*/ 1813240 h 2590578"/>
              <a:gd name="connsiteX34" fmla="*/ 2507434 w 4209222"/>
              <a:gd name="connsiteY34" fmla="*/ 1537275 h 2590578"/>
              <a:gd name="connsiteX35" fmla="*/ 2269960 w 4209222"/>
              <a:gd name="connsiteY35" fmla="*/ 1376711 h 2590578"/>
              <a:gd name="connsiteX36" fmla="*/ 2057264 w 4209222"/>
              <a:gd name="connsiteY36" fmla="*/ 1163612 h 2590578"/>
              <a:gd name="connsiteX37" fmla="*/ 2037373 w 4209222"/>
              <a:gd name="connsiteY37" fmla="*/ 1263658 h 2590578"/>
              <a:gd name="connsiteX38" fmla="*/ 2206631 w 4209222"/>
              <a:gd name="connsiteY38" fmla="*/ 1911459 h 2590578"/>
              <a:gd name="connsiteX39" fmla="*/ 2215311 w 4209222"/>
              <a:gd name="connsiteY39" fmla="*/ 2044238 h 2590578"/>
              <a:gd name="connsiteX40" fmla="*/ 2310363 w 4209222"/>
              <a:gd name="connsiteY40" fmla="*/ 2063502 h 2590578"/>
              <a:gd name="connsiteX41" fmla="*/ 2220576 w 4209222"/>
              <a:gd name="connsiteY41" fmla="*/ 1970042 h 2590578"/>
              <a:gd name="connsiteX42" fmla="*/ 2240863 w 4209222"/>
              <a:gd name="connsiteY42" fmla="*/ 2049594 h 2590578"/>
              <a:gd name="connsiteX43" fmla="*/ 2424224 w 4209222"/>
              <a:gd name="connsiteY43" fmla="*/ 2027231 h 2590578"/>
              <a:gd name="connsiteX44" fmla="*/ 2332159 w 4209222"/>
              <a:gd name="connsiteY44" fmla="*/ 1831481 h 2590578"/>
              <a:gd name="connsiteX45" fmla="*/ 2262367 w 4209222"/>
              <a:gd name="connsiteY45" fmla="*/ 1835013 h 2590578"/>
              <a:gd name="connsiteX46" fmla="*/ 2184312 w 4209222"/>
              <a:gd name="connsiteY46" fmla="*/ 1638073 h 2590578"/>
              <a:gd name="connsiteX47" fmla="*/ 2129914 w 4209222"/>
              <a:gd name="connsiteY47" fmla="*/ 1370261 h 2590578"/>
              <a:gd name="connsiteX48" fmla="*/ 2207325 w 4209222"/>
              <a:gd name="connsiteY48" fmla="*/ 1571118 h 2590578"/>
              <a:gd name="connsiteX49" fmla="*/ 2246377 w 4209222"/>
              <a:gd name="connsiteY49" fmla="*/ 1752373 h 2590578"/>
              <a:gd name="connsiteX50" fmla="*/ 2250881 w 4209222"/>
              <a:gd name="connsiteY50" fmla="*/ 1841469 h 2590578"/>
              <a:gd name="connsiteX51" fmla="*/ 2242681 w 4209222"/>
              <a:gd name="connsiteY51" fmla="*/ 1951432 h 2590578"/>
              <a:gd name="connsiteX52" fmla="*/ 2453495 w 4209222"/>
              <a:gd name="connsiteY52" fmla="*/ 1914913 h 2590578"/>
              <a:gd name="connsiteX53" fmla="*/ 2250887 w 4209222"/>
              <a:gd name="connsiteY53" fmla="*/ 1622854 h 2590578"/>
              <a:gd name="connsiteX54" fmla="*/ 2016590 w 4209222"/>
              <a:gd name="connsiteY54" fmla="*/ 1211725 h 2590578"/>
              <a:gd name="connsiteX55" fmla="*/ 1610965 w 4209222"/>
              <a:gd name="connsiteY55" fmla="*/ 1057408 h 2590578"/>
              <a:gd name="connsiteX56" fmla="*/ 1638714 w 4209222"/>
              <a:gd name="connsiteY56" fmla="*/ 869668 h 2590578"/>
              <a:gd name="connsiteX57" fmla="*/ 1630632 w 4209222"/>
              <a:gd name="connsiteY57" fmla="*/ 730393 h 2590578"/>
              <a:gd name="connsiteX58" fmla="*/ 1624122 w 4209222"/>
              <a:gd name="connsiteY58" fmla="*/ 645237 h 2590578"/>
              <a:gd name="connsiteX59" fmla="*/ 1588897 w 4209222"/>
              <a:gd name="connsiteY59" fmla="*/ 604942 h 2590578"/>
              <a:gd name="connsiteX60" fmla="*/ 1612427 w 4209222"/>
              <a:gd name="connsiteY60" fmla="*/ 414803 h 2590578"/>
              <a:gd name="connsiteX61" fmla="*/ 1647300 w 4209222"/>
              <a:gd name="connsiteY61" fmla="*/ 466411 h 2590578"/>
              <a:gd name="connsiteX62" fmla="*/ 1877348 w 4209222"/>
              <a:gd name="connsiteY62" fmla="*/ 392702 h 2590578"/>
              <a:gd name="connsiteX63" fmla="*/ 2215888 w 4209222"/>
              <a:gd name="connsiteY63" fmla="*/ 316051 h 2590578"/>
              <a:gd name="connsiteX64" fmla="*/ 2249868 w 4209222"/>
              <a:gd name="connsiteY64" fmla="*/ 629605 h 2590578"/>
              <a:gd name="connsiteX65" fmla="*/ 2283345 w 4209222"/>
              <a:gd name="connsiteY65" fmla="*/ 697952 h 2590578"/>
              <a:gd name="connsiteX66" fmla="*/ 2182917 w 4209222"/>
              <a:gd name="connsiteY66" fmla="*/ 809538 h 2590578"/>
              <a:gd name="connsiteX67" fmla="*/ 1965012 w 4209222"/>
              <a:gd name="connsiteY67" fmla="*/ 1019276 h 2590578"/>
              <a:gd name="connsiteX68" fmla="*/ 1779331 w 4209222"/>
              <a:gd name="connsiteY68" fmla="*/ 1008866 h 2590578"/>
              <a:gd name="connsiteX69" fmla="*/ 1544158 w 4209222"/>
              <a:gd name="connsiteY69" fmla="*/ 755831 h 2590578"/>
              <a:gd name="connsiteX70" fmla="*/ 1506871 w 4209222"/>
              <a:gd name="connsiteY70" fmla="*/ 367149 h 2590578"/>
              <a:gd name="connsiteX71" fmla="*/ 1729595 w 4209222"/>
              <a:gd name="connsiteY71" fmla="*/ 92593 h 2590578"/>
              <a:gd name="connsiteX72" fmla="*/ 2431189 w 4209222"/>
              <a:gd name="connsiteY72" fmla="*/ 390448 h 2590578"/>
              <a:gd name="connsiteX73" fmla="*/ 2385149 w 4209222"/>
              <a:gd name="connsiteY73" fmla="*/ 794463 h 2590578"/>
              <a:gd name="connsiteX74" fmla="*/ 2014799 w 4209222"/>
              <a:gd name="connsiteY74" fmla="*/ 1125040 h 2590578"/>
              <a:gd name="connsiteX75" fmla="*/ 2021315 w 4209222"/>
              <a:gd name="connsiteY75" fmla="*/ 1729302 h 2590578"/>
              <a:gd name="connsiteX76" fmla="*/ 1688967 w 4209222"/>
              <a:gd name="connsiteY76" fmla="*/ 1335929 h 2590578"/>
              <a:gd name="connsiteX77" fmla="*/ 1578521 w 4209222"/>
              <a:gd name="connsiteY77" fmla="*/ 1057502 h 2590578"/>
              <a:gd name="connsiteX78" fmla="*/ 1470392 w 4209222"/>
              <a:gd name="connsiteY78" fmla="*/ 1052059 h 2590578"/>
              <a:gd name="connsiteX79" fmla="*/ 1483673 w 4209222"/>
              <a:gd name="connsiteY79" fmla="*/ 1544825 h 2590578"/>
              <a:gd name="connsiteX80" fmla="*/ 1543263 w 4209222"/>
              <a:gd name="connsiteY80" fmla="*/ 1651730 h 2590578"/>
              <a:gd name="connsiteX81" fmla="*/ 1558727 w 4209222"/>
              <a:gd name="connsiteY81" fmla="*/ 1608080 h 2590578"/>
              <a:gd name="connsiteX82" fmla="*/ 1483961 w 4209222"/>
              <a:gd name="connsiteY82" fmla="*/ 1255888 h 2590578"/>
              <a:gd name="connsiteX83" fmla="*/ 1744938 w 4209222"/>
              <a:gd name="connsiteY83" fmla="*/ 1596225 h 2590578"/>
              <a:gd name="connsiteX84" fmla="*/ 1793759 w 4209222"/>
              <a:gd name="connsiteY84" fmla="*/ 1684100 h 2590578"/>
              <a:gd name="connsiteX85" fmla="*/ 1817470 w 4209222"/>
              <a:gd name="connsiteY85" fmla="*/ 1911459 h 2590578"/>
              <a:gd name="connsiteX86" fmla="*/ 1873263 w 4209222"/>
              <a:gd name="connsiteY86" fmla="*/ 2154157 h 2590578"/>
              <a:gd name="connsiteX87" fmla="*/ 1711461 w 4209222"/>
              <a:gd name="connsiteY87" fmla="*/ 2190760 h 2590578"/>
              <a:gd name="connsiteX88" fmla="*/ 1608953 w 4209222"/>
              <a:gd name="connsiteY88" fmla="*/ 2113017 h 2590578"/>
              <a:gd name="connsiteX89" fmla="*/ 1595692 w 4209222"/>
              <a:gd name="connsiteY89" fmla="*/ 1972833 h 2590578"/>
              <a:gd name="connsiteX90" fmla="*/ 1542689 w 4209222"/>
              <a:gd name="connsiteY90" fmla="*/ 1691073 h 2590578"/>
              <a:gd name="connsiteX91" fmla="*/ 1573081 w 4209222"/>
              <a:gd name="connsiteY91" fmla="*/ 1632724 h 2590578"/>
              <a:gd name="connsiteX92" fmla="*/ 1513454 w 4209222"/>
              <a:gd name="connsiteY92" fmla="*/ 1611421 h 2590578"/>
              <a:gd name="connsiteX93" fmla="*/ 1532507 w 4209222"/>
              <a:gd name="connsiteY93" fmla="*/ 1735500 h 2590578"/>
              <a:gd name="connsiteX94" fmla="*/ 1573551 w 4209222"/>
              <a:gd name="connsiteY94" fmla="*/ 2059051 h 2590578"/>
              <a:gd name="connsiteX95" fmla="*/ 1791921 w 4209222"/>
              <a:gd name="connsiteY95" fmla="*/ 2192847 h 2590578"/>
              <a:gd name="connsiteX96" fmla="*/ 1819100 w 4209222"/>
              <a:gd name="connsiteY96" fmla="*/ 2152662 h 2590578"/>
              <a:gd name="connsiteX97" fmla="*/ 1694357 w 4209222"/>
              <a:gd name="connsiteY97" fmla="*/ 2190462 h 2590578"/>
              <a:gd name="connsiteX98" fmla="*/ 1646254 w 4209222"/>
              <a:gd name="connsiteY98" fmla="*/ 2132415 h 2590578"/>
              <a:gd name="connsiteX99" fmla="*/ 1732016 w 4209222"/>
              <a:gd name="connsiteY99" fmla="*/ 2199101 h 2590578"/>
              <a:gd name="connsiteX100" fmla="*/ 1863926 w 4209222"/>
              <a:gd name="connsiteY100" fmla="*/ 2005140 h 2590578"/>
              <a:gd name="connsiteX101" fmla="*/ 1798152 w 4209222"/>
              <a:gd name="connsiteY101" fmla="*/ 1635447 h 2590578"/>
              <a:gd name="connsiteX102" fmla="*/ 1739401 w 4209222"/>
              <a:gd name="connsiteY102" fmla="*/ 1609194 h 2590578"/>
              <a:gd name="connsiteX103" fmla="*/ 1766600 w 4209222"/>
              <a:gd name="connsiteY103" fmla="*/ 1657065 h 2590578"/>
              <a:gd name="connsiteX104" fmla="*/ 1576592 w 4209222"/>
              <a:gd name="connsiteY104" fmla="*/ 1275792 h 2590578"/>
              <a:gd name="connsiteX105" fmla="*/ 1511506 w 4209222"/>
              <a:gd name="connsiteY105" fmla="*/ 1184882 h 2590578"/>
              <a:gd name="connsiteX106" fmla="*/ 1367874 w 4209222"/>
              <a:gd name="connsiteY106" fmla="*/ 1216974 h 2590578"/>
              <a:gd name="connsiteX107" fmla="*/ 1070177 w 4209222"/>
              <a:gd name="connsiteY107" fmla="*/ 1408944 h 2590578"/>
              <a:gd name="connsiteX108" fmla="*/ 971744 w 4209222"/>
              <a:gd name="connsiteY108" fmla="*/ 2331575 h 2590578"/>
              <a:gd name="connsiteX109" fmla="*/ 1570747 w 4209222"/>
              <a:gd name="connsiteY109" fmla="*/ 2588806 h 2590578"/>
              <a:gd name="connsiteX110" fmla="*/ 1992268 w 4209222"/>
              <a:gd name="connsiteY110" fmla="*/ 2542088 h 2590578"/>
              <a:gd name="connsiteX111" fmla="*/ 2248607 w 4209222"/>
              <a:gd name="connsiteY111" fmla="*/ 2539069 h 2590578"/>
              <a:gd name="connsiteX112" fmla="*/ 2393567 w 4209222"/>
              <a:gd name="connsiteY112" fmla="*/ 2489702 h 2590578"/>
              <a:gd name="connsiteX113" fmla="*/ 2499395 w 4209222"/>
              <a:gd name="connsiteY113" fmla="*/ 2532328 h 2590578"/>
              <a:gd name="connsiteX114" fmla="*/ 2722719 w 4209222"/>
              <a:gd name="connsiteY114" fmla="*/ 2480546 h 2590578"/>
              <a:gd name="connsiteX115" fmla="*/ 2412462 w 4209222"/>
              <a:gd name="connsiteY115" fmla="*/ 2324173 h 2590578"/>
              <a:gd name="connsiteX116" fmla="*/ 2231999 w 4209222"/>
              <a:gd name="connsiteY116" fmla="*/ 2286950 h 2590578"/>
              <a:gd name="connsiteX117" fmla="*/ 2086221 w 4209222"/>
              <a:gd name="connsiteY117" fmla="*/ 2375540 h 2590578"/>
              <a:gd name="connsiteX118" fmla="*/ 2053022 w 4209222"/>
              <a:gd name="connsiteY118" fmla="*/ 2224959 h 2590578"/>
              <a:gd name="connsiteX119" fmla="*/ 1799376 w 4209222"/>
              <a:gd name="connsiteY119" fmla="*/ 2247895 h 2590578"/>
              <a:gd name="connsiteX120" fmla="*/ 1496240 w 4209222"/>
              <a:gd name="connsiteY120" fmla="*/ 2221283 h 2590578"/>
              <a:gd name="connsiteX121" fmla="*/ 1241095 w 4209222"/>
              <a:gd name="connsiteY121" fmla="*/ 2175216 h 2590578"/>
              <a:gd name="connsiteX122" fmla="*/ 1439111 w 4209222"/>
              <a:gd name="connsiteY122" fmla="*/ 1871482 h 2590578"/>
              <a:gd name="connsiteX123" fmla="*/ 1149168 w 4209222"/>
              <a:gd name="connsiteY123" fmla="*/ 1395542 h 2590578"/>
              <a:gd name="connsiteX124" fmla="*/ 1059743 w 4209222"/>
              <a:gd name="connsiteY124" fmla="*/ 1529679 h 2590578"/>
              <a:gd name="connsiteX125" fmla="*/ 920545 w 4209222"/>
              <a:gd name="connsiteY125" fmla="*/ 2427087 h 2590578"/>
              <a:gd name="connsiteX126" fmla="*/ 788410 w 4209222"/>
              <a:gd name="connsiteY126" fmla="*/ 2583641 h 2590578"/>
              <a:gd name="connsiteX127" fmla="*/ 0 w 4209222"/>
              <a:gd name="connsiteY127" fmla="*/ 2583641 h 259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209222" h="2590578">
                <a:moveTo>
                  <a:pt x="4209222" y="2590181"/>
                </a:moveTo>
                <a:cubicBezTo>
                  <a:pt x="3643710" y="2590181"/>
                  <a:pt x="3113285" y="2592998"/>
                  <a:pt x="2931283" y="2583641"/>
                </a:cubicBezTo>
                <a:cubicBezTo>
                  <a:pt x="2787681" y="2576229"/>
                  <a:pt x="2813244" y="2490473"/>
                  <a:pt x="2882844" y="2395796"/>
                </a:cubicBezTo>
                <a:cubicBezTo>
                  <a:pt x="3021945" y="2206567"/>
                  <a:pt x="3107164" y="1831193"/>
                  <a:pt x="3108526" y="1703743"/>
                </a:cubicBezTo>
                <a:cubicBezTo>
                  <a:pt x="3109140" y="1645726"/>
                  <a:pt x="3091844" y="1661304"/>
                  <a:pt x="3045254" y="1646474"/>
                </a:cubicBezTo>
                <a:cubicBezTo>
                  <a:pt x="3033667" y="1642792"/>
                  <a:pt x="2935713" y="1591251"/>
                  <a:pt x="2960974" y="1569589"/>
                </a:cubicBezTo>
                <a:cubicBezTo>
                  <a:pt x="2966732" y="1564649"/>
                  <a:pt x="3035776" y="1611058"/>
                  <a:pt x="3049171" y="1613195"/>
                </a:cubicBezTo>
                <a:cubicBezTo>
                  <a:pt x="3093263" y="1620218"/>
                  <a:pt x="3092351" y="1596258"/>
                  <a:pt x="3116418" y="1571048"/>
                </a:cubicBezTo>
                <a:cubicBezTo>
                  <a:pt x="3172016" y="1512810"/>
                  <a:pt x="3268836" y="1528043"/>
                  <a:pt x="3341096" y="1507759"/>
                </a:cubicBezTo>
                <a:cubicBezTo>
                  <a:pt x="3418233" y="1486110"/>
                  <a:pt x="3419481" y="1459676"/>
                  <a:pt x="3501232" y="1451285"/>
                </a:cubicBezTo>
                <a:cubicBezTo>
                  <a:pt x="3532030" y="1448126"/>
                  <a:pt x="3589849" y="1421788"/>
                  <a:pt x="3586998" y="1397698"/>
                </a:cubicBezTo>
                <a:cubicBezTo>
                  <a:pt x="3586193" y="1391021"/>
                  <a:pt x="3669903" y="1348049"/>
                  <a:pt x="3678891" y="1333272"/>
                </a:cubicBezTo>
                <a:cubicBezTo>
                  <a:pt x="3714743" y="1274451"/>
                  <a:pt x="3654543" y="1318305"/>
                  <a:pt x="3642771" y="1291736"/>
                </a:cubicBezTo>
                <a:cubicBezTo>
                  <a:pt x="3637707" y="1280280"/>
                  <a:pt x="3674733" y="1271959"/>
                  <a:pt x="3666952" y="1254566"/>
                </a:cubicBezTo>
                <a:cubicBezTo>
                  <a:pt x="3646997" y="1210132"/>
                  <a:pt x="3531795" y="1307529"/>
                  <a:pt x="3488287" y="1329557"/>
                </a:cubicBezTo>
                <a:cubicBezTo>
                  <a:pt x="3439362" y="1354327"/>
                  <a:pt x="3388036" y="1360609"/>
                  <a:pt x="3333641" y="1362034"/>
                </a:cubicBezTo>
                <a:cubicBezTo>
                  <a:pt x="3322439" y="1362330"/>
                  <a:pt x="3229547" y="1351061"/>
                  <a:pt x="3225143" y="1356937"/>
                </a:cubicBezTo>
                <a:cubicBezTo>
                  <a:pt x="3271429" y="1295144"/>
                  <a:pt x="3373142" y="1393664"/>
                  <a:pt x="3422975" y="1343237"/>
                </a:cubicBezTo>
                <a:cubicBezTo>
                  <a:pt x="3477538" y="1288017"/>
                  <a:pt x="3326347" y="1303830"/>
                  <a:pt x="3305406" y="1302029"/>
                </a:cubicBezTo>
                <a:cubicBezTo>
                  <a:pt x="3240607" y="1296455"/>
                  <a:pt x="3282707" y="1261844"/>
                  <a:pt x="3142939" y="1156170"/>
                </a:cubicBezTo>
                <a:cubicBezTo>
                  <a:pt x="3075602" y="1105260"/>
                  <a:pt x="3000424" y="1065883"/>
                  <a:pt x="2932470" y="1015892"/>
                </a:cubicBezTo>
                <a:cubicBezTo>
                  <a:pt x="2713969" y="855146"/>
                  <a:pt x="2839095" y="681978"/>
                  <a:pt x="2909577" y="630571"/>
                </a:cubicBezTo>
                <a:cubicBezTo>
                  <a:pt x="3092254" y="497343"/>
                  <a:pt x="3351168" y="763397"/>
                  <a:pt x="3251430" y="879337"/>
                </a:cubicBezTo>
                <a:cubicBezTo>
                  <a:pt x="3205390" y="932856"/>
                  <a:pt x="3202432" y="813563"/>
                  <a:pt x="3215645" y="782020"/>
                </a:cubicBezTo>
                <a:cubicBezTo>
                  <a:pt x="3295764" y="590832"/>
                  <a:pt x="3615371" y="511093"/>
                  <a:pt x="3617819" y="793926"/>
                </a:cubicBezTo>
                <a:cubicBezTo>
                  <a:pt x="3619395" y="973638"/>
                  <a:pt x="3366649" y="1088367"/>
                  <a:pt x="3231157" y="1278653"/>
                </a:cubicBezTo>
                <a:cubicBezTo>
                  <a:pt x="3207771" y="1311503"/>
                  <a:pt x="3191160" y="1314542"/>
                  <a:pt x="3147141" y="1317976"/>
                </a:cubicBezTo>
                <a:cubicBezTo>
                  <a:pt x="2983857" y="1330720"/>
                  <a:pt x="3010636" y="1344461"/>
                  <a:pt x="2956372" y="1465196"/>
                </a:cubicBezTo>
                <a:cubicBezTo>
                  <a:pt x="2932849" y="1517535"/>
                  <a:pt x="2938691" y="1477266"/>
                  <a:pt x="2909836" y="1492426"/>
                </a:cubicBezTo>
                <a:cubicBezTo>
                  <a:pt x="2857926" y="1519692"/>
                  <a:pt x="2900076" y="1604237"/>
                  <a:pt x="2829184" y="1766958"/>
                </a:cubicBezTo>
                <a:cubicBezTo>
                  <a:pt x="2795861" y="1843448"/>
                  <a:pt x="2635846" y="2021640"/>
                  <a:pt x="2633016" y="2024185"/>
                </a:cubicBezTo>
                <a:cubicBezTo>
                  <a:pt x="2591332" y="2061627"/>
                  <a:pt x="2517616" y="2056385"/>
                  <a:pt x="2488670" y="2108238"/>
                </a:cubicBezTo>
                <a:cubicBezTo>
                  <a:pt x="2438940" y="2197320"/>
                  <a:pt x="2518505" y="2250857"/>
                  <a:pt x="2609811" y="2092626"/>
                </a:cubicBezTo>
                <a:cubicBezTo>
                  <a:pt x="2677111" y="1975995"/>
                  <a:pt x="2590158" y="1914007"/>
                  <a:pt x="2544077" y="1813240"/>
                </a:cubicBezTo>
                <a:cubicBezTo>
                  <a:pt x="2504006" y="1725616"/>
                  <a:pt x="2534345" y="1628226"/>
                  <a:pt x="2507434" y="1537275"/>
                </a:cubicBezTo>
                <a:cubicBezTo>
                  <a:pt x="2470177" y="1411345"/>
                  <a:pt x="2375567" y="1417647"/>
                  <a:pt x="2269960" y="1376711"/>
                </a:cubicBezTo>
                <a:cubicBezTo>
                  <a:pt x="2079332" y="1302817"/>
                  <a:pt x="2129666" y="1203166"/>
                  <a:pt x="2057264" y="1163612"/>
                </a:cubicBezTo>
                <a:cubicBezTo>
                  <a:pt x="1958831" y="1109834"/>
                  <a:pt x="2014383" y="1229765"/>
                  <a:pt x="2037373" y="1263658"/>
                </a:cubicBezTo>
                <a:cubicBezTo>
                  <a:pt x="2098033" y="1353090"/>
                  <a:pt x="2217551" y="1879792"/>
                  <a:pt x="2206631" y="1911459"/>
                </a:cubicBezTo>
                <a:cubicBezTo>
                  <a:pt x="2178731" y="1992358"/>
                  <a:pt x="2193384" y="2018846"/>
                  <a:pt x="2215311" y="2044238"/>
                </a:cubicBezTo>
                <a:cubicBezTo>
                  <a:pt x="2233760" y="2065598"/>
                  <a:pt x="2295617" y="2099823"/>
                  <a:pt x="2310363" y="2063502"/>
                </a:cubicBezTo>
                <a:cubicBezTo>
                  <a:pt x="2320196" y="2039274"/>
                  <a:pt x="2244656" y="1972581"/>
                  <a:pt x="2220576" y="1970042"/>
                </a:cubicBezTo>
                <a:cubicBezTo>
                  <a:pt x="2184869" y="1966276"/>
                  <a:pt x="2219379" y="2028217"/>
                  <a:pt x="2240863" y="2049594"/>
                </a:cubicBezTo>
                <a:cubicBezTo>
                  <a:pt x="2278177" y="2086723"/>
                  <a:pt x="2395167" y="2061278"/>
                  <a:pt x="2424224" y="2027231"/>
                </a:cubicBezTo>
                <a:cubicBezTo>
                  <a:pt x="2476717" y="1965719"/>
                  <a:pt x="2392588" y="1858469"/>
                  <a:pt x="2332159" y="1831481"/>
                </a:cubicBezTo>
                <a:cubicBezTo>
                  <a:pt x="2314274" y="1823496"/>
                  <a:pt x="2277674" y="1833293"/>
                  <a:pt x="2262367" y="1835013"/>
                </a:cubicBezTo>
                <a:cubicBezTo>
                  <a:pt x="2216394" y="1829164"/>
                  <a:pt x="2221971" y="1780343"/>
                  <a:pt x="2184312" y="1638073"/>
                </a:cubicBezTo>
                <a:cubicBezTo>
                  <a:pt x="2169448" y="1581914"/>
                  <a:pt x="2141820" y="1398128"/>
                  <a:pt x="2129914" y="1370261"/>
                </a:cubicBezTo>
                <a:cubicBezTo>
                  <a:pt x="2157123" y="1423375"/>
                  <a:pt x="2192160" y="1512401"/>
                  <a:pt x="2207325" y="1571118"/>
                </a:cubicBezTo>
                <a:cubicBezTo>
                  <a:pt x="2222471" y="1629789"/>
                  <a:pt x="2224014" y="1697401"/>
                  <a:pt x="2246377" y="1752373"/>
                </a:cubicBezTo>
                <a:cubicBezTo>
                  <a:pt x="2258152" y="1781312"/>
                  <a:pt x="2276373" y="1809635"/>
                  <a:pt x="2250881" y="1841469"/>
                </a:cubicBezTo>
                <a:cubicBezTo>
                  <a:pt x="2228823" y="1867122"/>
                  <a:pt x="2206413" y="1917314"/>
                  <a:pt x="2242681" y="1951432"/>
                </a:cubicBezTo>
                <a:cubicBezTo>
                  <a:pt x="2352906" y="2055127"/>
                  <a:pt x="2517559" y="2009754"/>
                  <a:pt x="2453495" y="1914913"/>
                </a:cubicBezTo>
                <a:cubicBezTo>
                  <a:pt x="2382379" y="1809635"/>
                  <a:pt x="2282799" y="1826193"/>
                  <a:pt x="2250887" y="1622854"/>
                </a:cubicBezTo>
                <a:cubicBezTo>
                  <a:pt x="2225281" y="1459710"/>
                  <a:pt x="2110251" y="1132687"/>
                  <a:pt x="2016590" y="1211725"/>
                </a:cubicBezTo>
                <a:cubicBezTo>
                  <a:pt x="1956048" y="1262813"/>
                  <a:pt x="1621452" y="1173523"/>
                  <a:pt x="1610965" y="1057408"/>
                </a:cubicBezTo>
                <a:cubicBezTo>
                  <a:pt x="1605157" y="993100"/>
                  <a:pt x="1635632" y="933252"/>
                  <a:pt x="1638714" y="869668"/>
                </a:cubicBezTo>
                <a:cubicBezTo>
                  <a:pt x="1640847" y="825626"/>
                  <a:pt x="1625564" y="774471"/>
                  <a:pt x="1630632" y="730393"/>
                </a:cubicBezTo>
                <a:cubicBezTo>
                  <a:pt x="1632070" y="717883"/>
                  <a:pt x="1637041" y="657482"/>
                  <a:pt x="1624122" y="645237"/>
                </a:cubicBezTo>
                <a:cubicBezTo>
                  <a:pt x="1607102" y="629109"/>
                  <a:pt x="1608906" y="633921"/>
                  <a:pt x="1588897" y="604942"/>
                </a:cubicBezTo>
                <a:cubicBezTo>
                  <a:pt x="1562315" y="566440"/>
                  <a:pt x="1568976" y="435653"/>
                  <a:pt x="1612427" y="414803"/>
                </a:cubicBezTo>
                <a:cubicBezTo>
                  <a:pt x="1628274" y="407197"/>
                  <a:pt x="1629183" y="477042"/>
                  <a:pt x="1647300" y="466411"/>
                </a:cubicBezTo>
                <a:cubicBezTo>
                  <a:pt x="1679476" y="447529"/>
                  <a:pt x="1711273" y="507676"/>
                  <a:pt x="1877348" y="392702"/>
                </a:cubicBezTo>
                <a:cubicBezTo>
                  <a:pt x="2032400" y="285358"/>
                  <a:pt x="2125869" y="144761"/>
                  <a:pt x="2215888" y="316051"/>
                </a:cubicBezTo>
                <a:cubicBezTo>
                  <a:pt x="2283268" y="444269"/>
                  <a:pt x="2264004" y="500552"/>
                  <a:pt x="2249868" y="629605"/>
                </a:cubicBezTo>
                <a:cubicBezTo>
                  <a:pt x="2283617" y="590386"/>
                  <a:pt x="2312070" y="633838"/>
                  <a:pt x="2283345" y="697952"/>
                </a:cubicBezTo>
                <a:cubicBezTo>
                  <a:pt x="2268143" y="731888"/>
                  <a:pt x="2231972" y="763176"/>
                  <a:pt x="2182917" y="809538"/>
                </a:cubicBezTo>
                <a:cubicBezTo>
                  <a:pt x="2152119" y="838645"/>
                  <a:pt x="2134713" y="951071"/>
                  <a:pt x="1965012" y="1019276"/>
                </a:cubicBezTo>
                <a:cubicBezTo>
                  <a:pt x="1892581" y="1048387"/>
                  <a:pt x="1846339" y="1055939"/>
                  <a:pt x="1779331" y="1008866"/>
                </a:cubicBezTo>
                <a:cubicBezTo>
                  <a:pt x="1583981" y="871630"/>
                  <a:pt x="1636018" y="838501"/>
                  <a:pt x="1544158" y="755831"/>
                </a:cubicBezTo>
                <a:cubicBezTo>
                  <a:pt x="1415753" y="640267"/>
                  <a:pt x="1388490" y="525142"/>
                  <a:pt x="1506871" y="367149"/>
                </a:cubicBezTo>
                <a:cubicBezTo>
                  <a:pt x="1576827" y="273784"/>
                  <a:pt x="1610653" y="158612"/>
                  <a:pt x="1729595" y="92593"/>
                </a:cubicBezTo>
                <a:cubicBezTo>
                  <a:pt x="2246139" y="-194117"/>
                  <a:pt x="2483304" y="265074"/>
                  <a:pt x="2431189" y="390448"/>
                </a:cubicBezTo>
                <a:cubicBezTo>
                  <a:pt x="2369108" y="539805"/>
                  <a:pt x="2417949" y="717735"/>
                  <a:pt x="2385149" y="794463"/>
                </a:cubicBezTo>
                <a:cubicBezTo>
                  <a:pt x="2279760" y="1041035"/>
                  <a:pt x="1998667" y="859409"/>
                  <a:pt x="2014799" y="1125040"/>
                </a:cubicBezTo>
                <a:cubicBezTo>
                  <a:pt x="2021362" y="1233116"/>
                  <a:pt x="2086583" y="1676440"/>
                  <a:pt x="2021315" y="1729302"/>
                </a:cubicBezTo>
                <a:cubicBezTo>
                  <a:pt x="1930703" y="1802686"/>
                  <a:pt x="1766147" y="1430126"/>
                  <a:pt x="1688967" y="1335929"/>
                </a:cubicBezTo>
                <a:cubicBezTo>
                  <a:pt x="1619266" y="1250854"/>
                  <a:pt x="1512435" y="1175374"/>
                  <a:pt x="1578521" y="1057502"/>
                </a:cubicBezTo>
                <a:cubicBezTo>
                  <a:pt x="1629079" y="967323"/>
                  <a:pt x="1542213" y="946942"/>
                  <a:pt x="1470392" y="1052059"/>
                </a:cubicBezTo>
                <a:cubicBezTo>
                  <a:pt x="1381531" y="1182115"/>
                  <a:pt x="1461833" y="1426719"/>
                  <a:pt x="1483673" y="1544825"/>
                </a:cubicBezTo>
                <a:cubicBezTo>
                  <a:pt x="1490518" y="1581840"/>
                  <a:pt x="1481563" y="1667311"/>
                  <a:pt x="1543263" y="1651730"/>
                </a:cubicBezTo>
                <a:cubicBezTo>
                  <a:pt x="1567192" y="1645686"/>
                  <a:pt x="1560535" y="1616921"/>
                  <a:pt x="1558727" y="1608080"/>
                </a:cubicBezTo>
                <a:cubicBezTo>
                  <a:pt x="1539678" y="1550858"/>
                  <a:pt x="1475054" y="1283496"/>
                  <a:pt x="1483961" y="1255888"/>
                </a:cubicBezTo>
                <a:cubicBezTo>
                  <a:pt x="1498044" y="1212225"/>
                  <a:pt x="1753306" y="1523693"/>
                  <a:pt x="1744938" y="1596225"/>
                </a:cubicBezTo>
                <a:cubicBezTo>
                  <a:pt x="1737956" y="1656747"/>
                  <a:pt x="1767425" y="1628813"/>
                  <a:pt x="1793759" y="1684100"/>
                </a:cubicBezTo>
                <a:cubicBezTo>
                  <a:pt x="1825402" y="1750542"/>
                  <a:pt x="1799866" y="1839185"/>
                  <a:pt x="1817470" y="1911459"/>
                </a:cubicBezTo>
                <a:cubicBezTo>
                  <a:pt x="1835671" y="1986181"/>
                  <a:pt x="1877727" y="2075528"/>
                  <a:pt x="1873263" y="2154157"/>
                </a:cubicBezTo>
                <a:cubicBezTo>
                  <a:pt x="1868353" y="2240678"/>
                  <a:pt x="1773549" y="2207181"/>
                  <a:pt x="1711461" y="2190760"/>
                </a:cubicBezTo>
                <a:cubicBezTo>
                  <a:pt x="1659300" y="2176970"/>
                  <a:pt x="1630783" y="2165597"/>
                  <a:pt x="1608953" y="2113017"/>
                </a:cubicBezTo>
                <a:cubicBezTo>
                  <a:pt x="1588082" y="2062737"/>
                  <a:pt x="1595551" y="2026848"/>
                  <a:pt x="1595692" y="1972833"/>
                </a:cubicBezTo>
                <a:cubicBezTo>
                  <a:pt x="1595927" y="1881821"/>
                  <a:pt x="1580349" y="1781742"/>
                  <a:pt x="1542689" y="1691073"/>
                </a:cubicBezTo>
                <a:cubicBezTo>
                  <a:pt x="1537072" y="1677557"/>
                  <a:pt x="1578953" y="1665966"/>
                  <a:pt x="1573081" y="1632724"/>
                </a:cubicBezTo>
                <a:cubicBezTo>
                  <a:pt x="1569674" y="1616072"/>
                  <a:pt x="1533292" y="1596339"/>
                  <a:pt x="1513454" y="1611421"/>
                </a:cubicBezTo>
                <a:cubicBezTo>
                  <a:pt x="1483338" y="1634323"/>
                  <a:pt x="1524210" y="1712195"/>
                  <a:pt x="1532507" y="1735500"/>
                </a:cubicBezTo>
                <a:cubicBezTo>
                  <a:pt x="1603567" y="1935120"/>
                  <a:pt x="1562322" y="1953894"/>
                  <a:pt x="1573551" y="2059051"/>
                </a:cubicBezTo>
                <a:cubicBezTo>
                  <a:pt x="1583847" y="2155449"/>
                  <a:pt x="1692888" y="2247744"/>
                  <a:pt x="1791921" y="2192847"/>
                </a:cubicBezTo>
                <a:cubicBezTo>
                  <a:pt x="1804960" y="2185616"/>
                  <a:pt x="1832894" y="2166295"/>
                  <a:pt x="1819100" y="2152662"/>
                </a:cubicBezTo>
                <a:cubicBezTo>
                  <a:pt x="1790969" y="2124869"/>
                  <a:pt x="1759735" y="2216672"/>
                  <a:pt x="1694357" y="2190462"/>
                </a:cubicBezTo>
                <a:cubicBezTo>
                  <a:pt x="1687837" y="2187846"/>
                  <a:pt x="1629153" y="2146471"/>
                  <a:pt x="1646254" y="2132415"/>
                </a:cubicBezTo>
                <a:cubicBezTo>
                  <a:pt x="1672406" y="2110921"/>
                  <a:pt x="1718842" y="2191904"/>
                  <a:pt x="1732016" y="2199101"/>
                </a:cubicBezTo>
                <a:cubicBezTo>
                  <a:pt x="1784573" y="2227806"/>
                  <a:pt x="1966317" y="2291830"/>
                  <a:pt x="1863926" y="2005140"/>
                </a:cubicBezTo>
                <a:cubicBezTo>
                  <a:pt x="1801013" y="1828976"/>
                  <a:pt x="1857014" y="1709029"/>
                  <a:pt x="1798152" y="1635447"/>
                </a:cubicBezTo>
                <a:cubicBezTo>
                  <a:pt x="1787494" y="1622126"/>
                  <a:pt x="1758571" y="1598089"/>
                  <a:pt x="1739401" y="1609194"/>
                </a:cubicBezTo>
                <a:cubicBezTo>
                  <a:pt x="1717353" y="1621968"/>
                  <a:pt x="1743047" y="1657126"/>
                  <a:pt x="1766600" y="1657065"/>
                </a:cubicBezTo>
                <a:cubicBezTo>
                  <a:pt x="1884619" y="1656753"/>
                  <a:pt x="1670763" y="1383153"/>
                  <a:pt x="1576592" y="1275792"/>
                </a:cubicBezTo>
                <a:cubicBezTo>
                  <a:pt x="1559253" y="1256025"/>
                  <a:pt x="1531853" y="1194735"/>
                  <a:pt x="1511506" y="1184882"/>
                </a:cubicBezTo>
                <a:cubicBezTo>
                  <a:pt x="1490595" y="1174753"/>
                  <a:pt x="1394798" y="1210957"/>
                  <a:pt x="1367874" y="1216974"/>
                </a:cubicBezTo>
                <a:cubicBezTo>
                  <a:pt x="1239039" y="1245776"/>
                  <a:pt x="1128761" y="1276175"/>
                  <a:pt x="1070177" y="1408944"/>
                </a:cubicBezTo>
                <a:cubicBezTo>
                  <a:pt x="916538" y="1757122"/>
                  <a:pt x="960012" y="1977994"/>
                  <a:pt x="971744" y="2331575"/>
                </a:cubicBezTo>
                <a:cubicBezTo>
                  <a:pt x="982785" y="2664333"/>
                  <a:pt x="1009974" y="2572708"/>
                  <a:pt x="1570747" y="2588806"/>
                </a:cubicBezTo>
                <a:cubicBezTo>
                  <a:pt x="1685741" y="2592126"/>
                  <a:pt x="1880457" y="2574116"/>
                  <a:pt x="1992268" y="2542088"/>
                </a:cubicBezTo>
                <a:cubicBezTo>
                  <a:pt x="2138224" y="2500266"/>
                  <a:pt x="2147907" y="2563451"/>
                  <a:pt x="2248607" y="2539069"/>
                </a:cubicBezTo>
                <a:cubicBezTo>
                  <a:pt x="2298162" y="2527063"/>
                  <a:pt x="2341912" y="2493257"/>
                  <a:pt x="2393567" y="2489702"/>
                </a:cubicBezTo>
                <a:cubicBezTo>
                  <a:pt x="2441583" y="2486382"/>
                  <a:pt x="2459244" y="2516532"/>
                  <a:pt x="2499395" y="2532328"/>
                </a:cubicBezTo>
                <a:cubicBezTo>
                  <a:pt x="2564602" y="2557985"/>
                  <a:pt x="2682507" y="2545039"/>
                  <a:pt x="2722719" y="2480546"/>
                </a:cubicBezTo>
                <a:cubicBezTo>
                  <a:pt x="2724768" y="2477260"/>
                  <a:pt x="2439114" y="2342733"/>
                  <a:pt x="2412462" y="2324173"/>
                </a:cubicBezTo>
                <a:cubicBezTo>
                  <a:pt x="2352560" y="2282459"/>
                  <a:pt x="2303384" y="2247121"/>
                  <a:pt x="2231999" y="2286950"/>
                </a:cubicBezTo>
                <a:cubicBezTo>
                  <a:pt x="2202784" y="2303253"/>
                  <a:pt x="2121271" y="2386473"/>
                  <a:pt x="2086221" y="2375540"/>
                </a:cubicBezTo>
                <a:cubicBezTo>
                  <a:pt x="2038064" y="2360545"/>
                  <a:pt x="2083981" y="2256297"/>
                  <a:pt x="2053022" y="2224959"/>
                </a:cubicBezTo>
                <a:cubicBezTo>
                  <a:pt x="2014061" y="2185519"/>
                  <a:pt x="1845303" y="2241738"/>
                  <a:pt x="1799376" y="2247895"/>
                </a:cubicBezTo>
                <a:cubicBezTo>
                  <a:pt x="1690852" y="2262441"/>
                  <a:pt x="1598747" y="2260210"/>
                  <a:pt x="1496240" y="2221283"/>
                </a:cubicBezTo>
                <a:cubicBezTo>
                  <a:pt x="1477928" y="2214327"/>
                  <a:pt x="1249781" y="2135490"/>
                  <a:pt x="1241095" y="2175216"/>
                </a:cubicBezTo>
                <a:cubicBezTo>
                  <a:pt x="1181106" y="2449490"/>
                  <a:pt x="1443123" y="1935921"/>
                  <a:pt x="1439111" y="1871482"/>
                </a:cubicBezTo>
                <a:cubicBezTo>
                  <a:pt x="1417446" y="1523294"/>
                  <a:pt x="1224252" y="1414427"/>
                  <a:pt x="1149168" y="1395542"/>
                </a:cubicBezTo>
                <a:cubicBezTo>
                  <a:pt x="1099053" y="1382935"/>
                  <a:pt x="1074752" y="1496936"/>
                  <a:pt x="1059743" y="1529679"/>
                </a:cubicBezTo>
                <a:cubicBezTo>
                  <a:pt x="996766" y="1667090"/>
                  <a:pt x="852464" y="2019738"/>
                  <a:pt x="920545" y="2427087"/>
                </a:cubicBezTo>
                <a:cubicBezTo>
                  <a:pt x="934229" y="2508952"/>
                  <a:pt x="871429" y="2583641"/>
                  <a:pt x="788410" y="2583641"/>
                </a:cubicBezTo>
                <a:lnTo>
                  <a:pt x="0" y="2583641"/>
                </a:lnTo>
              </a:path>
            </a:pathLst>
          </a:custGeom>
          <a:noFill/>
          <a:ln w="19050" cap="flat">
            <a:solidFill>
              <a:schemeClr val="accent3"/>
            </a:solidFill>
            <a:prstDash val="solid"/>
            <a:round/>
          </a:ln>
        </p:spPr>
        <p:txBody>
          <a:bodyPr rtlCol="0" anchor="ctr"/>
          <a:lstStyle/>
          <a:p>
            <a:endParaRPr lang="fr-FR"/>
          </a:p>
        </p:txBody>
      </p:sp>
      <p:grpSp>
        <p:nvGrpSpPr>
          <p:cNvPr id="18" name="Group 17">
            <a:extLst>
              <a:ext uri="{FF2B5EF4-FFF2-40B4-BE49-F238E27FC236}">
                <a16:creationId xmlns:a16="http://schemas.microsoft.com/office/drawing/2014/main" id="{06A61B8F-3C4B-4CBD-8985-7B16AE501243}"/>
              </a:ext>
            </a:extLst>
          </p:cNvPr>
          <p:cNvGrpSpPr/>
          <p:nvPr userDrawn="1"/>
        </p:nvGrpSpPr>
        <p:grpSpPr>
          <a:xfrm>
            <a:off x="9103464" y="33039"/>
            <a:ext cx="3007663" cy="466922"/>
            <a:chOff x="4552730" y="6271009"/>
            <a:chExt cx="3007663" cy="466922"/>
          </a:xfrm>
        </p:grpSpPr>
        <p:pic>
          <p:nvPicPr>
            <p:cNvPr id="19" name="Image 1">
              <a:extLst>
                <a:ext uri="{FF2B5EF4-FFF2-40B4-BE49-F238E27FC236}">
                  <a16:creationId xmlns:a16="http://schemas.microsoft.com/office/drawing/2014/main" id="{75E17647-C3C1-42A2-A2B7-6A766F678C7D}"/>
                </a:ext>
              </a:extLst>
            </p:cNvPr>
            <p:cNvPicPr>
              <a:picLocks/>
            </p:cNvPicPr>
            <p:nvPr userDrawn="1"/>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l="7375" t="11504" r="7397" b="8443"/>
            <a:stretch/>
          </p:blipFill>
          <p:spPr>
            <a:xfrm>
              <a:off x="5749413" y="6271009"/>
              <a:ext cx="693174" cy="466922"/>
            </a:xfrm>
            <a:prstGeom prst="rect">
              <a:avLst/>
            </a:prstGeom>
          </p:spPr>
        </p:pic>
        <p:pic>
          <p:nvPicPr>
            <p:cNvPr id="20" name="Image 15">
              <a:extLst>
                <a:ext uri="{FF2B5EF4-FFF2-40B4-BE49-F238E27FC236}">
                  <a16:creationId xmlns:a16="http://schemas.microsoft.com/office/drawing/2014/main" id="{6A525CE3-A053-4667-ABB9-1126BFC2F38B}"/>
                </a:ext>
              </a:extLst>
            </p:cNvPr>
            <p:cNvPicPr>
              <a:picLocks noChangeAspect="1"/>
            </p:cNvPicPr>
            <p:nvPr userDrawn="1"/>
          </p:nvPicPr>
          <p:blipFill rotWithShape="1">
            <a:blip r:embed="rId11" cstate="print"/>
            <a:srcRect t="11816" b="-1"/>
            <a:stretch/>
          </p:blipFill>
          <p:spPr>
            <a:xfrm>
              <a:off x="4552730" y="6372335"/>
              <a:ext cx="960188" cy="264269"/>
            </a:xfrm>
            <a:prstGeom prst="rect">
              <a:avLst/>
            </a:prstGeom>
          </p:spPr>
        </p:pic>
        <p:pic>
          <p:nvPicPr>
            <p:cNvPr id="21" name="Picture 2" descr="Agence du Numérique en Santé (ANS) | G_NIUS">
              <a:extLst>
                <a:ext uri="{FF2B5EF4-FFF2-40B4-BE49-F238E27FC236}">
                  <a16:creationId xmlns:a16="http://schemas.microsoft.com/office/drawing/2014/main" id="{E086AD64-5A08-4D4B-8A6A-FABF71D5FA9A}"/>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11750" t="34545" r="12000" b="35000"/>
            <a:stretch/>
          </p:blipFill>
          <p:spPr bwMode="auto">
            <a:xfrm>
              <a:off x="6679082" y="6328897"/>
              <a:ext cx="881311" cy="19359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97063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13924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905000" y="3365729"/>
            <a:ext cx="8781288" cy="523220"/>
          </a:xfrm>
          <a:prstGeom prst="rect">
            <a:avLst/>
          </a:prstGeom>
        </p:spPr>
        <p:txBody>
          <a:bodyPr wrap="square">
            <a:noAutofit/>
          </a:bodyPr>
          <a:lstStyle>
            <a:lvl1pPr>
              <a:lnSpc>
                <a:spcPct val="105000"/>
              </a:lnSpc>
              <a:defRPr sz="3400"/>
            </a:lvl1pPr>
          </a:lstStyle>
          <a:p>
            <a:r>
              <a:rPr lang="fr-FR"/>
              <a:t>“Click to </a:t>
            </a:r>
            <a:r>
              <a:rPr lang="fr-FR" err="1"/>
              <a:t>add</a:t>
            </a:r>
            <a:r>
              <a:rPr lang="fr-FR"/>
              <a:t> </a:t>
            </a:r>
            <a:r>
              <a:rPr lang="fr-FR" err="1"/>
              <a:t>quote</a:t>
            </a:r>
            <a:endParaRPr lang="fr-F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905000" y="4094130"/>
            <a:ext cx="878128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add</a:t>
            </a:r>
            <a:r>
              <a:rPr lang="fr-FR"/>
              <a:t> </a:t>
            </a:r>
            <a:r>
              <a:rPr lang="fr-FR" err="1"/>
              <a:t>quote</a:t>
            </a:r>
            <a:r>
              <a:rPr lang="fr-FR"/>
              <a:t>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Rectangle 10">
            <a:extLst>
              <a:ext uri="{FF2B5EF4-FFF2-40B4-BE49-F238E27FC236}">
                <a16:creationId xmlns:a16="http://schemas.microsoft.com/office/drawing/2014/main" id="{AD68CD23-2E1D-41C5-932F-8EF811CA98F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BD7F91BA-4380-4A5A-9BCE-3EA81A57A2E3}"/>
              </a:ext>
            </a:extLst>
          </p:cNvPr>
          <p:cNvSpPr>
            <a:spLocks noChangeArrowheads="1"/>
          </p:cNvSpPr>
          <p:nvPr userDrawn="1">
            <p:custDataLst>
              <p:tags r:id="rId6"/>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8B75C04A-7C7A-45CC-8569-25AF6A96DA1D}"/>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2E761F3A-D885-421C-9EFA-3BFEE17738B1}"/>
              </a:ext>
            </a:extLst>
          </p:cNvPr>
          <p:cNvPicPr>
            <a:picLocks/>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3F0FE692-C2D2-4D89-8204-4ED59A521252}"/>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70DD0F-0155-4602-A080-F90183C72EF4}"/>
              </a:ext>
            </a:extLst>
          </p:cNvPr>
          <p:cNvSpPr txBox="1"/>
          <p:nvPr userDrawn="1"/>
        </p:nvSpPr>
        <p:spPr>
          <a:xfrm>
            <a:off x="539653"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a16="http://schemas.microsoft.com/office/drawing/2014/main" id="{863510CD-8211-4311-84E9-8119B8316D46}"/>
              </a:ext>
            </a:extLst>
          </p:cNvPr>
          <p:cNvSpPr txBox="1"/>
          <p:nvPr userDrawn="1"/>
        </p:nvSpPr>
        <p:spPr>
          <a:xfrm>
            <a:off x="1165921"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cxnSp>
        <p:nvCxnSpPr>
          <p:cNvPr id="23" name="Straight Connector 22">
            <a:extLst>
              <a:ext uri="{FF2B5EF4-FFF2-40B4-BE49-F238E27FC236}">
                <a16:creationId xmlns:a16="http://schemas.microsoft.com/office/drawing/2014/main" id="{6A120AC3-56D5-4FDB-9268-4D5D772B24A6}"/>
              </a:ext>
            </a:extLst>
          </p:cNvPr>
          <p:cNvCxnSpPr>
            <a:cxnSpLocks/>
          </p:cNvCxnSpPr>
          <p:nvPr userDrawn="1"/>
        </p:nvCxnSpPr>
        <p:spPr>
          <a:xfrm>
            <a:off x="-1" y="3991540"/>
            <a:ext cx="581559"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EF636E1-8633-49EE-9DF2-A5A010F0DFB5}"/>
              </a:ext>
            </a:extLst>
          </p:cNvPr>
          <p:cNvCxnSpPr>
            <a:cxnSpLocks/>
          </p:cNvCxnSpPr>
          <p:nvPr userDrawn="1"/>
        </p:nvCxnSpPr>
        <p:spPr>
          <a:xfrm>
            <a:off x="581558" y="3928834"/>
            <a:ext cx="626268"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1B67340-457B-489D-903F-5A07C08203B7}"/>
              </a:ext>
            </a:extLst>
          </p:cNvPr>
          <p:cNvCxnSpPr>
            <a:cxnSpLocks/>
          </p:cNvCxnSpPr>
          <p:nvPr userDrawn="1"/>
        </p:nvCxnSpPr>
        <p:spPr>
          <a:xfrm>
            <a:off x="1207826" y="3991540"/>
            <a:ext cx="1357574" cy="0"/>
          </a:xfrm>
          <a:prstGeom prst="line">
            <a:avLst/>
          </a:prstGeom>
          <a:ln w="15875"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697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59746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7" y="499961"/>
            <a:ext cx="6967728" cy="384721"/>
          </a:xfrm>
        </p:spPr>
        <p:txBody>
          <a:bodyPr/>
          <a:lstStyle/>
          <a:p>
            <a:r>
              <a:rPr lang="en-US"/>
              <a:t>Click to edit Master title style</a:t>
            </a:r>
            <a:endParaRPr lang="fr-F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4"/>
            </p:custDataLst>
          </p:nvPr>
        </p:nvSpPr>
        <p:spPr>
          <a:xfrm>
            <a:off x="554737" y="957798"/>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Rectangle 10">
            <a:extLst>
              <a:ext uri="{FF2B5EF4-FFF2-40B4-BE49-F238E27FC236}">
                <a16:creationId xmlns:a16="http://schemas.microsoft.com/office/drawing/2014/main" id="{C9586326-5D2E-44A1-A8A4-D4B313CE104D}"/>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18FDD733-5B86-4D3A-8384-6C6DF21B0A9F}"/>
              </a:ext>
            </a:extLst>
          </p:cNvPr>
          <p:cNvSpPr>
            <a:spLocks noChangeArrowheads="1"/>
          </p:cNvSpPr>
          <p:nvPr userDrawn="1">
            <p:custDataLst>
              <p:tags r:id="rId6"/>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50BF5A9-3E10-4FD7-BBBD-AC3DE27383A2}"/>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87E9FEF5-539C-4266-94AF-68FD6174FB18}"/>
              </a:ext>
            </a:extLst>
          </p:cNvPr>
          <p:cNvPicPr>
            <a:picLocks/>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8AD96AEA-D46E-4DD3-8EFD-5CEBB3A24BE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58AAD5B-6554-4D11-BAB9-B8069992E435}"/>
              </a:ext>
            </a:extLst>
          </p:cNvPr>
          <p:cNvCxnSpPr/>
          <p:nvPr userDrawn="1"/>
        </p:nvCxnSpPr>
        <p:spPr>
          <a:xfrm>
            <a:off x="7830312" y="1467293"/>
            <a:ext cx="0" cy="461453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390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6505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3"/>
            </p:custDataLst>
          </p:nvPr>
        </p:nvSpPr>
        <p:spPr>
          <a:xfrm>
            <a:off x="554737" y="499961"/>
            <a:ext cx="7918704" cy="384721"/>
          </a:xfrm>
        </p:spPr>
        <p:txBody>
          <a:bodyPr/>
          <a:lstStyle/>
          <a:p>
            <a:r>
              <a:rPr lang="en-US"/>
              <a:t>Click to edit Master title style</a:t>
            </a:r>
            <a:endParaRPr lang="fr-F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4"/>
            </p:custDataLst>
          </p:nvPr>
        </p:nvSpPr>
        <p:spPr>
          <a:xfrm>
            <a:off x="554737" y="957798"/>
            <a:ext cx="7918704"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Rectangle 10">
            <a:extLst>
              <a:ext uri="{FF2B5EF4-FFF2-40B4-BE49-F238E27FC236}">
                <a16:creationId xmlns:a16="http://schemas.microsoft.com/office/drawing/2014/main" id="{569154C3-17C4-431E-AA85-6F3ABCA496F2}"/>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FFEEF882-5F04-4A45-B71F-9A0A6D64E214}"/>
              </a:ext>
            </a:extLst>
          </p:cNvPr>
          <p:cNvSpPr>
            <a:spLocks noChangeArrowheads="1"/>
          </p:cNvSpPr>
          <p:nvPr userDrawn="1">
            <p:custDataLst>
              <p:tags r:id="rId6"/>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E55A1F2-AD34-44A1-9271-15E2C735F392}"/>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BB40254B-FA4C-4339-80DB-81F72F6762FB}"/>
              </a:ext>
            </a:extLst>
          </p:cNvPr>
          <p:cNvPicPr>
            <a:picLocks/>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FD9D22CB-24E0-465D-B880-3436C7A0DC1D}"/>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5EC5098-4C96-42B9-8C63-81818ADDE3BB}"/>
              </a:ext>
            </a:extLst>
          </p:cNvPr>
          <p:cNvCxnSpPr/>
          <p:nvPr userDrawn="1"/>
        </p:nvCxnSpPr>
        <p:spPr>
          <a:xfrm>
            <a:off x="8781416" y="1467293"/>
            <a:ext cx="0" cy="4614530"/>
          </a:xfrm>
          <a:prstGeom prst="line">
            <a:avLst/>
          </a:prstGeom>
          <a:ln w="635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08615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tags" Target="../tags/tag92.xml"/><Relationship Id="rId26" Type="http://schemas.openxmlformats.org/officeDocument/2006/relationships/tags" Target="../tags/tag100.xml"/><Relationship Id="rId39" Type="http://schemas.openxmlformats.org/officeDocument/2006/relationships/image" Target="../media/image1.emf"/><Relationship Id="rId21" Type="http://schemas.openxmlformats.org/officeDocument/2006/relationships/tags" Target="../tags/tag95.xml"/><Relationship Id="rId34" Type="http://schemas.openxmlformats.org/officeDocument/2006/relationships/tags" Target="../tags/tag108.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5" Type="http://schemas.openxmlformats.org/officeDocument/2006/relationships/tags" Target="../tags/tag99.xml"/><Relationship Id="rId33" Type="http://schemas.openxmlformats.org/officeDocument/2006/relationships/tags" Target="../tags/tag107.xml"/><Relationship Id="rId38"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ags" Target="../tags/tag94.xml"/><Relationship Id="rId29" Type="http://schemas.openxmlformats.org/officeDocument/2006/relationships/tags" Target="../tags/tag10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98.xml"/><Relationship Id="rId32" Type="http://schemas.openxmlformats.org/officeDocument/2006/relationships/tags" Target="../tags/tag106.xml"/><Relationship Id="rId37" Type="http://schemas.openxmlformats.org/officeDocument/2006/relationships/tags" Target="../tags/tag111.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97.xml"/><Relationship Id="rId28" Type="http://schemas.openxmlformats.org/officeDocument/2006/relationships/tags" Target="../tags/tag102.xml"/><Relationship Id="rId36" Type="http://schemas.openxmlformats.org/officeDocument/2006/relationships/tags" Target="../tags/tag110.xml"/><Relationship Id="rId10" Type="http://schemas.openxmlformats.org/officeDocument/2006/relationships/slideLayout" Target="../slideLayouts/slideLayout23.xml"/><Relationship Id="rId19" Type="http://schemas.openxmlformats.org/officeDocument/2006/relationships/tags" Target="../tags/tag93.xml"/><Relationship Id="rId31" Type="http://schemas.openxmlformats.org/officeDocument/2006/relationships/tags" Target="../tags/tag10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96.xml"/><Relationship Id="rId27" Type="http://schemas.openxmlformats.org/officeDocument/2006/relationships/tags" Target="../tags/tag101.xml"/><Relationship Id="rId30" Type="http://schemas.openxmlformats.org/officeDocument/2006/relationships/tags" Target="../tags/tag104.xml"/><Relationship Id="rId35" Type="http://schemas.openxmlformats.org/officeDocument/2006/relationships/tags" Target="../tags/tag109.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4.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3.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14.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4.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226848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13" imgH="416" progId="TCLayout.ActiveDocument.1">
                  <p:embed/>
                </p:oleObj>
              </mc:Choice>
              <mc:Fallback>
                <p:oleObj name="think-cell Slide" r:id="rId3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3" r:id="rId2"/>
    <p:sldLayoutId id="2147483654" r:id="rId3"/>
    <p:sldLayoutId id="2147483807" r:id="rId4"/>
    <p:sldLayoutId id="2147483800" r:id="rId5"/>
    <p:sldLayoutId id="2147483659" r:id="rId6"/>
    <p:sldLayoutId id="2147483804" r:id="rId7"/>
    <p:sldLayoutId id="2147483806" r:id="rId8"/>
    <p:sldLayoutId id="2147483882" r:id="rId9"/>
    <p:sldLayoutId id="2147483879" r:id="rId10"/>
    <p:sldLayoutId id="2147483706" r:id="rId11"/>
    <p:sldLayoutId id="2147483718" r:id="rId12"/>
    <p:sldLayoutId id="2147484214" r:id="rId13"/>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140070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812014959"/>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Lst>
  <p:hf sldNum="0"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endParaRPr lang="fr-FR">
              <a:latin typeface="Arial"/>
              <a:ea typeface="+mn-ea"/>
            </a:endParaRP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3152870531"/>
      </p:ext>
    </p:extLst>
  </p:cSld>
  <p:clrMap bg1="lt1" tx1="dk1" bg2="lt2" tx2="dk2" accent1="accent1" accent2="accent2" accent3="accent3" accent4="accent4" accent5="accent5" accent6="accent6" hlink="hlink" folHlink="folHlink"/>
  <p:sldLayoutIdLst>
    <p:sldLayoutId id="2147484190" r:id="rId1"/>
    <p:sldLayoutId id="2147484191" r:id="rId2"/>
    <p:sldLayoutId id="2147484192" r:id="rId3"/>
    <p:sldLayoutId id="2147484193" r:id="rId4"/>
    <p:sldLayoutId id="2147484194" r:id="rId5"/>
    <p:sldLayoutId id="2147484195" r:id="rId6"/>
    <p:sldLayoutId id="2147484196" r:id="rId7"/>
    <p:sldLayoutId id="2147484197" r:id="rId8"/>
    <p:sldLayoutId id="2147484198" r:id="rId9"/>
    <p:sldLayoutId id="2147484199" r:id="rId10"/>
  </p:sldLayoutIdLst>
  <p:transition>
    <p:fade/>
  </p:transition>
  <p:hf hdr="0" ftr="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2133"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867"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103445" y="1124745"/>
            <a:ext cx="10753195" cy="4992555"/>
          </a:xfrm>
          <a:prstGeom prst="rect">
            <a:avLst/>
          </a:prstGeom>
        </p:spPr>
        <p:txBody>
          <a:bodyPr vert="horz" lIns="0" tIns="0" rIns="0" bIns="0" rtlCol="0">
            <a:normAutofit/>
          </a:bodyPr>
          <a:lstStyle/>
          <a:p>
            <a:pPr lvl="0"/>
            <a:r>
              <a:rPr lang="fr-FR"/>
              <a:t>Modifiez les styles du texte du masque</a:t>
            </a:r>
          </a:p>
          <a:p>
            <a:pPr marL="959952" marR="0" lvl="1" indent="-380981" algn="l" defTabSz="121914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28" marR="0" lvl="2" indent="-335984" algn="l" defTabSz="121914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04" marR="0" lvl="3" indent="-287986" algn="l" defTabSz="121914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880" marR="0" lvl="4" indent="-287986" algn="l" defTabSz="121914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40" y="6333324"/>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a:p>
        </p:txBody>
      </p:sp>
      <p:sp>
        <p:nvSpPr>
          <p:cNvPr id="5" name="Espace réservé du pied de page 4"/>
          <p:cNvSpPr>
            <a:spLocks noGrp="1"/>
          </p:cNvSpPr>
          <p:nvPr>
            <p:ph type="ftr" sz="quarter" idx="3"/>
          </p:nvPr>
        </p:nvSpPr>
        <p:spPr>
          <a:xfrm>
            <a:off x="545005" y="6333324"/>
            <a:ext cx="9235315" cy="365125"/>
          </a:xfrm>
          <a:prstGeom prst="rect">
            <a:avLst/>
          </a:prstGeom>
        </p:spPr>
        <p:txBody>
          <a:bodyPr vert="horz" lIns="0" tIns="0" rIns="0" bIns="0" rtlCol="0" anchor="ctr"/>
          <a:lstStyle>
            <a:lvl1pPr marL="0" marR="0" indent="0" algn="l" defTabSz="1219140" rtl="0" eaLnBrk="1" fontAlgn="auto" latinLnBrk="0" hangingPunct="1">
              <a:lnSpc>
                <a:spcPct val="100000"/>
              </a:lnSpc>
              <a:spcBef>
                <a:spcPts val="0"/>
              </a:spcBef>
              <a:spcAft>
                <a:spcPts val="0"/>
              </a:spcAft>
              <a:buClrTx/>
              <a:buSzTx/>
              <a:buFontTx/>
              <a:buNone/>
              <a:tabLst/>
              <a:defRPr sz="1067" i="1">
                <a:solidFill>
                  <a:srgbClr val="575757"/>
                </a:solidFill>
              </a:defRPr>
            </a:lvl1pPr>
          </a:lstStyle>
          <a:p>
            <a:endParaRPr lang="fr-FR">
              <a:latin typeface="Arial"/>
              <a:ea typeface="+mn-ea"/>
            </a:endParaRP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94855" y="116632"/>
            <a:ext cx="715733" cy="633600"/>
          </a:xfrm>
          <a:prstGeom prst="rect">
            <a:avLst/>
          </a:prstGeom>
        </p:spPr>
      </p:pic>
    </p:spTree>
    <p:extLst>
      <p:ext uri="{BB962C8B-B14F-4D97-AF65-F5344CB8AC3E}">
        <p14:creationId xmlns:p14="http://schemas.microsoft.com/office/powerpoint/2010/main" val="1669716689"/>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Lst>
  <p:transition>
    <p:fade/>
  </p:transition>
  <p:hf hdr="0" ftr="0"/>
  <p:txStyles>
    <p:title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4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52" marR="0" indent="-380981" algn="l" defTabSz="121914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28" marR="0" indent="-335984" algn="l" defTabSz="121914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04" marR="0" indent="-287986" algn="l" defTabSz="121914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2133" kern="1200">
          <a:solidFill>
            <a:srgbClr val="575757"/>
          </a:solidFill>
          <a:latin typeface="+mn-lt"/>
          <a:ea typeface="+mn-ea"/>
          <a:cs typeface="+mn-cs"/>
        </a:defRPr>
      </a:lvl4pPr>
      <a:lvl5pPr marL="2399880" marR="0" indent="-287986" algn="l" defTabSz="1219140" rtl="0" eaLnBrk="1" fontAlgn="auto" latinLnBrk="0" hangingPunct="1">
        <a:lnSpc>
          <a:spcPct val="100000"/>
        </a:lnSpc>
        <a:spcBef>
          <a:spcPts val="267"/>
        </a:spcBef>
        <a:spcAft>
          <a:spcPts val="0"/>
        </a:spcAft>
        <a:buClrTx/>
        <a:buSzPct val="110000"/>
        <a:buFont typeface="Arial" pitchFamily="34" charset="0"/>
        <a:buChar char="•"/>
        <a:tabLst/>
        <a:defRPr lang="fr-FR" sz="1867" kern="1200">
          <a:solidFill>
            <a:srgbClr val="575757"/>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6.xml"/><Relationship Id="rId4"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36.xml"/><Relationship Id="rId5" Type="http://schemas.openxmlformats.org/officeDocument/2006/relationships/image" Target="../media/image38.png"/><Relationship Id="rId4" Type="http://schemas.openxmlformats.org/officeDocument/2006/relationships/image" Target="../media/image3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6.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36.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034FD0-E502-4ADC-B3E0-25D3A6A44A6E}"/>
              </a:ext>
            </a:extLst>
          </p:cNvPr>
          <p:cNvSpPr>
            <a:spLocks noGrp="1"/>
          </p:cNvSpPr>
          <p:nvPr>
            <p:ph type="ctrTitle"/>
          </p:nvPr>
        </p:nvSpPr>
        <p:spPr>
          <a:xfrm>
            <a:off x="5615947" y="2244362"/>
            <a:ext cx="6036733" cy="415878"/>
          </a:xfrm>
        </p:spPr>
        <p:txBody>
          <a:bodyPr/>
          <a:lstStyle/>
          <a:p>
            <a:r>
              <a:rPr lang="fr-FR" sz="3700"/>
              <a:t>SantExpo </a:t>
            </a:r>
            <a:endParaRPr lang="en-US" sz="3700"/>
          </a:p>
        </p:txBody>
      </p:sp>
      <p:sp>
        <p:nvSpPr>
          <p:cNvPr id="3" name="Espace réservé du texte 2">
            <a:extLst>
              <a:ext uri="{FF2B5EF4-FFF2-40B4-BE49-F238E27FC236}">
                <a16:creationId xmlns:a16="http://schemas.microsoft.com/office/drawing/2014/main" id="{D8FAB1AE-A4A4-4729-92DB-5A988F6357B2}"/>
              </a:ext>
            </a:extLst>
          </p:cNvPr>
          <p:cNvSpPr>
            <a:spLocks noGrp="1"/>
          </p:cNvSpPr>
          <p:nvPr>
            <p:ph type="body" sz="quarter" idx="10"/>
          </p:nvPr>
        </p:nvSpPr>
        <p:spPr>
          <a:xfrm>
            <a:off x="5615947" y="3190923"/>
            <a:ext cx="6036733" cy="885891"/>
          </a:xfrm>
        </p:spPr>
        <p:txBody>
          <a:bodyPr vert="horz" lIns="0" tIns="0" rIns="0" bIns="0" rtlCol="0" anchor="t">
            <a:noAutofit/>
          </a:bodyPr>
          <a:lstStyle/>
          <a:p>
            <a:r>
              <a:rPr lang="fr-FR" sz="2650"/>
              <a:t>Simplifier l'usage de ViaTrajectoire grâce à l'interopérabilité : possibilités actuelles et à venir</a:t>
            </a:r>
            <a:endParaRPr lang="fr-FR" sz="2650">
              <a:cs typeface="Arial"/>
            </a:endParaRPr>
          </a:p>
        </p:txBody>
      </p:sp>
      <p:pic>
        <p:nvPicPr>
          <p:cNvPr id="6" name="Picture 2">
            <a:extLst>
              <a:ext uri="{FF2B5EF4-FFF2-40B4-BE49-F238E27FC236}">
                <a16:creationId xmlns:a16="http://schemas.microsoft.com/office/drawing/2014/main" id="{62649A99-17EC-48D3-A51B-01088FF25D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809" y="4773149"/>
            <a:ext cx="2123225" cy="674227"/>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016D16D3-0A93-442F-8543-2280E25DC627}"/>
              </a:ext>
            </a:extLst>
          </p:cNvPr>
          <p:cNvPicPr>
            <a:picLocks noChangeAspect="1"/>
          </p:cNvPicPr>
          <p:nvPr/>
        </p:nvPicPr>
        <p:blipFill>
          <a:blip r:embed="rId3"/>
          <a:stretch>
            <a:fillRect/>
          </a:stretch>
        </p:blipFill>
        <p:spPr>
          <a:xfrm>
            <a:off x="245098" y="1018808"/>
            <a:ext cx="2997724" cy="1334353"/>
          </a:xfrm>
          <a:prstGeom prst="rect">
            <a:avLst/>
          </a:prstGeom>
        </p:spPr>
      </p:pic>
      <p:sp>
        <p:nvSpPr>
          <p:cNvPr id="8" name="Text Placeholder 7">
            <a:extLst>
              <a:ext uri="{FF2B5EF4-FFF2-40B4-BE49-F238E27FC236}">
                <a16:creationId xmlns:a16="http://schemas.microsoft.com/office/drawing/2014/main" id="{C7072A65-B785-6E57-E7B0-7F4E83134AB1}"/>
              </a:ext>
            </a:extLst>
          </p:cNvPr>
          <p:cNvSpPr>
            <a:spLocks noGrp="1"/>
          </p:cNvSpPr>
          <p:nvPr>
            <p:ph type="body" sz="quarter" idx="12"/>
          </p:nvPr>
        </p:nvSpPr>
        <p:spPr/>
        <p:txBody>
          <a:bodyPr vert="horz" lIns="0" tIns="0" rIns="0" bIns="0" rtlCol="0" anchor="t">
            <a:normAutofit/>
          </a:bodyPr>
          <a:lstStyle/>
          <a:p>
            <a:r>
              <a:rPr lang="en-US">
                <a:cs typeface="Arial"/>
              </a:rPr>
              <a:t>21 </a:t>
            </a:r>
            <a:r>
              <a:rPr lang="en-US" err="1">
                <a:cs typeface="Arial"/>
              </a:rPr>
              <a:t>mai</a:t>
            </a:r>
            <a:r>
              <a:rPr lang="en-US">
                <a:cs typeface="Arial"/>
              </a:rPr>
              <a:t> 2024</a:t>
            </a:r>
            <a:endParaRPr lang="en-US"/>
          </a:p>
        </p:txBody>
      </p:sp>
    </p:spTree>
    <p:extLst>
      <p:ext uri="{BB962C8B-B14F-4D97-AF65-F5344CB8AC3E}">
        <p14:creationId xmlns:p14="http://schemas.microsoft.com/office/powerpoint/2010/main" val="4166573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a:t>Les flux d’échange</a:t>
            </a: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10</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289177" y="1687085"/>
            <a:ext cx="11203960" cy="2311842"/>
          </a:xfrm>
          <a:prstGeom prst="rect">
            <a:avLst/>
          </a:prstGeom>
          <a:noFill/>
        </p:spPr>
        <p:txBody>
          <a:bodyPr wrap="square" lIns="72000" tIns="108000" rIns="72000" bIns="108000" rtlCol="0" anchor="ctr" anchorCtr="0">
            <a:normAutofit/>
          </a:bodyPr>
          <a:lstStyle/>
          <a:p>
            <a:pPr algn="ctr"/>
            <a:endParaRPr lang="fr-FR" sz="1500">
              <a:solidFill>
                <a:srgbClr val="575757"/>
              </a:solidFill>
            </a:endParaRPr>
          </a:p>
        </p:txBody>
      </p:sp>
      <p:sp>
        <p:nvSpPr>
          <p:cNvPr id="8" name="Rectangle 7">
            <a:extLst>
              <a:ext uri="{FF2B5EF4-FFF2-40B4-BE49-F238E27FC236}">
                <a16:creationId xmlns:a16="http://schemas.microsoft.com/office/drawing/2014/main" id="{722CEE67-F404-B3BD-8DA7-FF426FD96874}"/>
              </a:ext>
            </a:extLst>
          </p:cNvPr>
          <p:cNvSpPr/>
          <p:nvPr/>
        </p:nvSpPr>
        <p:spPr>
          <a:xfrm>
            <a:off x="325513" y="3241797"/>
            <a:ext cx="1320955" cy="49113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DUI</a:t>
            </a:r>
          </a:p>
        </p:txBody>
      </p:sp>
      <p:sp>
        <p:nvSpPr>
          <p:cNvPr id="9" name="Rectangle 8">
            <a:extLst>
              <a:ext uri="{FF2B5EF4-FFF2-40B4-BE49-F238E27FC236}">
                <a16:creationId xmlns:a16="http://schemas.microsoft.com/office/drawing/2014/main" id="{0D2AF7C2-2103-1625-5418-976D48971282}"/>
              </a:ext>
            </a:extLst>
          </p:cNvPr>
          <p:cNvSpPr/>
          <p:nvPr/>
        </p:nvSpPr>
        <p:spPr>
          <a:xfrm>
            <a:off x="325030" y="2593827"/>
            <a:ext cx="1311563" cy="49113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ViaTrajectoire</a:t>
            </a:r>
          </a:p>
        </p:txBody>
      </p:sp>
      <p:sp>
        <p:nvSpPr>
          <p:cNvPr id="10" name="Rectangle 9">
            <a:extLst>
              <a:ext uri="{FF2B5EF4-FFF2-40B4-BE49-F238E27FC236}">
                <a16:creationId xmlns:a16="http://schemas.microsoft.com/office/drawing/2014/main" id="{1005B2EC-22DA-637A-795C-E1A2F720C6D7}"/>
              </a:ext>
            </a:extLst>
          </p:cNvPr>
          <p:cNvSpPr/>
          <p:nvPr/>
        </p:nvSpPr>
        <p:spPr>
          <a:xfrm>
            <a:off x="334906" y="1903432"/>
            <a:ext cx="1311562" cy="49113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SI MDPH</a:t>
            </a:r>
          </a:p>
        </p:txBody>
      </p:sp>
      <p:sp>
        <p:nvSpPr>
          <p:cNvPr id="97" name="Rectangle 96">
            <a:extLst>
              <a:ext uri="{FF2B5EF4-FFF2-40B4-BE49-F238E27FC236}">
                <a16:creationId xmlns:a16="http://schemas.microsoft.com/office/drawing/2014/main" id="{AB119E62-742A-D907-A269-8B97633C26EB}"/>
              </a:ext>
            </a:extLst>
          </p:cNvPr>
          <p:cNvSpPr/>
          <p:nvPr/>
        </p:nvSpPr>
        <p:spPr>
          <a:xfrm>
            <a:off x="325030" y="3979919"/>
            <a:ext cx="7839839" cy="642783"/>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a:solidFill>
                  <a:srgbClr val="002060"/>
                </a:solidFill>
              </a:rPr>
              <a:t>Normes et standards :</a:t>
            </a:r>
          </a:p>
          <a:p>
            <a:pPr marL="285750" indent="-285750">
              <a:buFont typeface="Arial" panose="020B0604020202020204" pitchFamily="34" charset="0"/>
              <a:buChar char="•"/>
            </a:pPr>
            <a:r>
              <a:rPr lang="fr-FR" sz="1200">
                <a:solidFill>
                  <a:srgbClr val="002060"/>
                </a:solidFill>
              </a:rPr>
              <a:t>L’échange des informations est basé sur le standard </a:t>
            </a:r>
            <a:r>
              <a:rPr lang="fr-FR" sz="1200" b="1">
                <a:solidFill>
                  <a:srgbClr val="002060"/>
                </a:solidFill>
              </a:rPr>
              <a:t>HL7 FHIR</a:t>
            </a:r>
            <a:r>
              <a:rPr lang="fr-FR" sz="1200">
                <a:solidFill>
                  <a:srgbClr val="002060"/>
                </a:solidFill>
              </a:rPr>
              <a:t>. </a:t>
            </a:r>
          </a:p>
          <a:p>
            <a:pPr marL="285750" indent="-285750">
              <a:buFont typeface="Arial" panose="020B0604020202020204" pitchFamily="34" charset="0"/>
              <a:buChar char="•"/>
            </a:pPr>
            <a:r>
              <a:rPr lang="fr-FR" sz="1200">
                <a:solidFill>
                  <a:srgbClr val="002060"/>
                </a:solidFill>
              </a:rPr>
              <a:t>Les données structurées sont spécifiées dans le format </a:t>
            </a:r>
            <a:r>
              <a:rPr lang="fr-FR" sz="1200" b="1">
                <a:solidFill>
                  <a:srgbClr val="002060"/>
                </a:solidFill>
              </a:rPr>
              <a:t>CDA R2 niveau 3</a:t>
            </a:r>
          </a:p>
        </p:txBody>
      </p:sp>
      <p:sp>
        <p:nvSpPr>
          <p:cNvPr id="98" name="TextBox 97">
            <a:extLst>
              <a:ext uri="{FF2B5EF4-FFF2-40B4-BE49-F238E27FC236}">
                <a16:creationId xmlns:a16="http://schemas.microsoft.com/office/drawing/2014/main" id="{FE8F43F9-F4D8-6824-3DD5-064A4DE4EA98}"/>
              </a:ext>
            </a:extLst>
          </p:cNvPr>
          <p:cNvSpPr txBox="1"/>
          <p:nvPr/>
        </p:nvSpPr>
        <p:spPr>
          <a:xfrm>
            <a:off x="289177" y="1152144"/>
            <a:ext cx="11613646" cy="577309"/>
          </a:xfrm>
          <a:prstGeom prst="rect">
            <a:avLst/>
          </a:prstGeom>
          <a:noFill/>
        </p:spPr>
        <p:txBody>
          <a:bodyPr wrap="square" lIns="72000" tIns="108000" rIns="72000" bIns="108000" rtlCol="0" anchor="ctr" anchorCtr="0">
            <a:normAutofit fontScale="92500" lnSpcReduction="20000"/>
          </a:bodyPr>
          <a:lstStyle/>
          <a:p>
            <a:r>
              <a:rPr lang="fr-FR" sz="1500">
                <a:solidFill>
                  <a:srgbClr val="002060"/>
                </a:solidFill>
              </a:rPr>
              <a:t>Six flux d’échanges seront mis en place entre le module PH du SI Via Trajectoire et les solutions des ESMS, avec des échanges de données dans les deux sens. Les différents échanges de données peuvent être modélisés schématiquement de la façon suivante :</a:t>
            </a:r>
          </a:p>
        </p:txBody>
      </p:sp>
      <p:cxnSp>
        <p:nvCxnSpPr>
          <p:cNvPr id="38" name="Straight Arrow Connector 37">
            <a:extLst>
              <a:ext uri="{FF2B5EF4-FFF2-40B4-BE49-F238E27FC236}">
                <a16:creationId xmlns:a16="http://schemas.microsoft.com/office/drawing/2014/main" id="{40E94667-435D-337B-F6A3-C18CEDE2BB61}"/>
              </a:ext>
            </a:extLst>
          </p:cNvPr>
          <p:cNvCxnSpPr>
            <a:cxnSpLocks/>
          </p:cNvCxnSpPr>
          <p:nvPr/>
        </p:nvCxnSpPr>
        <p:spPr>
          <a:xfrm flipV="1">
            <a:off x="5891157" y="2394566"/>
            <a:ext cx="0" cy="13326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646C320-FD6B-CF57-BFE6-B324EE39B7EA}"/>
              </a:ext>
            </a:extLst>
          </p:cNvPr>
          <p:cNvSpPr/>
          <p:nvPr/>
        </p:nvSpPr>
        <p:spPr>
          <a:xfrm>
            <a:off x="2072629" y="1916009"/>
            <a:ext cx="2065223" cy="478557"/>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Emission de la décision d’orientation</a:t>
            </a:r>
          </a:p>
        </p:txBody>
      </p:sp>
      <p:cxnSp>
        <p:nvCxnSpPr>
          <p:cNvPr id="13" name="Straight Arrow Connector 12">
            <a:extLst>
              <a:ext uri="{FF2B5EF4-FFF2-40B4-BE49-F238E27FC236}">
                <a16:creationId xmlns:a16="http://schemas.microsoft.com/office/drawing/2014/main" id="{DA3DC828-6800-B31C-3AB8-3EBEDBAB43F9}"/>
              </a:ext>
            </a:extLst>
          </p:cNvPr>
          <p:cNvCxnSpPr>
            <a:cxnSpLocks/>
            <a:stCxn id="11" idx="2"/>
          </p:cNvCxnSpPr>
          <p:nvPr/>
        </p:nvCxnSpPr>
        <p:spPr>
          <a:xfrm>
            <a:off x="3105241" y="2394566"/>
            <a:ext cx="0" cy="535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F8A7766-B9ED-3EFD-FF83-DC1290098145}"/>
              </a:ext>
            </a:extLst>
          </p:cNvPr>
          <p:cNvSpPr/>
          <p:nvPr/>
        </p:nvSpPr>
        <p:spPr>
          <a:xfrm>
            <a:off x="2072629" y="2593827"/>
            <a:ext cx="2065223" cy="451125"/>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Transmission à VT PH</a:t>
            </a:r>
          </a:p>
        </p:txBody>
      </p:sp>
      <p:cxnSp>
        <p:nvCxnSpPr>
          <p:cNvPr id="18" name="Straight Arrow Connector 17">
            <a:extLst>
              <a:ext uri="{FF2B5EF4-FFF2-40B4-BE49-F238E27FC236}">
                <a16:creationId xmlns:a16="http://schemas.microsoft.com/office/drawing/2014/main" id="{4854F4AA-F4EB-7848-6E56-B7D2310DBF39}"/>
              </a:ext>
            </a:extLst>
          </p:cNvPr>
          <p:cNvCxnSpPr>
            <a:cxnSpLocks/>
            <a:stCxn id="14" idx="2"/>
            <a:endCxn id="21" idx="0"/>
          </p:cNvCxnSpPr>
          <p:nvPr/>
        </p:nvCxnSpPr>
        <p:spPr>
          <a:xfrm flipH="1">
            <a:off x="3098156" y="3044952"/>
            <a:ext cx="7085" cy="2049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892C700-B611-45CF-4ADE-ABAC28B377AB}"/>
              </a:ext>
            </a:extLst>
          </p:cNvPr>
          <p:cNvSpPr/>
          <p:nvPr/>
        </p:nvSpPr>
        <p:spPr>
          <a:xfrm>
            <a:off x="2065544" y="3249896"/>
            <a:ext cx="2065223" cy="491134"/>
          </a:xfrm>
          <a:prstGeom prst="rect">
            <a:avLst/>
          </a:prstGeom>
          <a:solidFill>
            <a:srgbClr val="E6D5F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Récupération des décisions dans les DUI des ESMS concernés</a:t>
            </a:r>
          </a:p>
        </p:txBody>
      </p:sp>
      <p:sp>
        <p:nvSpPr>
          <p:cNvPr id="22" name="Rectangle 21">
            <a:extLst>
              <a:ext uri="{FF2B5EF4-FFF2-40B4-BE49-F238E27FC236}">
                <a16:creationId xmlns:a16="http://schemas.microsoft.com/office/drawing/2014/main" id="{E0E70AF7-4374-FC58-D944-7D8A4F178B6D}"/>
              </a:ext>
            </a:extLst>
          </p:cNvPr>
          <p:cNvSpPr/>
          <p:nvPr/>
        </p:nvSpPr>
        <p:spPr>
          <a:xfrm>
            <a:off x="4600105" y="3249896"/>
            <a:ext cx="7084618" cy="484307"/>
          </a:xfrm>
          <a:prstGeom prst="rect">
            <a:avLst/>
          </a:prstGeom>
          <a:solidFill>
            <a:srgbClr val="E6D5F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Gestion de la notification au sein du/des DUI</a:t>
            </a:r>
          </a:p>
        </p:txBody>
      </p:sp>
      <p:cxnSp>
        <p:nvCxnSpPr>
          <p:cNvPr id="24" name="Straight Arrow Connector 23">
            <a:extLst>
              <a:ext uri="{FF2B5EF4-FFF2-40B4-BE49-F238E27FC236}">
                <a16:creationId xmlns:a16="http://schemas.microsoft.com/office/drawing/2014/main" id="{D816EBAA-02EB-2210-291D-C81B79D08BAD}"/>
              </a:ext>
            </a:extLst>
          </p:cNvPr>
          <p:cNvCxnSpPr>
            <a:cxnSpLocks/>
          </p:cNvCxnSpPr>
          <p:nvPr/>
        </p:nvCxnSpPr>
        <p:spPr>
          <a:xfrm flipV="1">
            <a:off x="5891157" y="3014418"/>
            <a:ext cx="0" cy="1915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4E1FFD1F-E3A1-49F5-E6F0-41D1969A0B69}"/>
              </a:ext>
            </a:extLst>
          </p:cNvPr>
          <p:cNvSpPr/>
          <p:nvPr/>
        </p:nvSpPr>
        <p:spPr>
          <a:xfrm>
            <a:off x="4600105" y="1909030"/>
            <a:ext cx="2582104" cy="478557"/>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Renvoi des statuts admissions impossibles proposées</a:t>
            </a:r>
          </a:p>
        </p:txBody>
      </p:sp>
      <p:sp>
        <p:nvSpPr>
          <p:cNvPr id="42" name="Rectangle 41">
            <a:extLst>
              <a:ext uri="{FF2B5EF4-FFF2-40B4-BE49-F238E27FC236}">
                <a16:creationId xmlns:a16="http://schemas.microsoft.com/office/drawing/2014/main" id="{EAE16861-0777-90C1-4EB4-0B77A6AEE12A}"/>
              </a:ext>
            </a:extLst>
          </p:cNvPr>
          <p:cNvSpPr/>
          <p:nvPr/>
        </p:nvSpPr>
        <p:spPr>
          <a:xfrm>
            <a:off x="9115875" y="1916010"/>
            <a:ext cx="2582104" cy="416932"/>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Entérinement (ou refus) de l’admission impossible par la MDPH</a:t>
            </a:r>
          </a:p>
        </p:txBody>
      </p:sp>
      <p:cxnSp>
        <p:nvCxnSpPr>
          <p:cNvPr id="48" name="Straight Arrow Connector 47">
            <a:extLst>
              <a:ext uri="{FF2B5EF4-FFF2-40B4-BE49-F238E27FC236}">
                <a16:creationId xmlns:a16="http://schemas.microsoft.com/office/drawing/2014/main" id="{B0D72A95-1BAD-1D37-592B-6137C064366D}"/>
              </a:ext>
            </a:extLst>
          </p:cNvPr>
          <p:cNvCxnSpPr>
            <a:cxnSpLocks/>
          </p:cNvCxnSpPr>
          <p:nvPr/>
        </p:nvCxnSpPr>
        <p:spPr>
          <a:xfrm flipH="1">
            <a:off x="10406927" y="2507766"/>
            <a:ext cx="2191" cy="74213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D2D74DAB-A6DE-12C5-BEA3-5A0421A053F6}"/>
              </a:ext>
            </a:extLst>
          </p:cNvPr>
          <p:cNvCxnSpPr>
            <a:cxnSpLocks/>
          </p:cNvCxnSpPr>
          <p:nvPr/>
        </p:nvCxnSpPr>
        <p:spPr>
          <a:xfrm flipV="1">
            <a:off x="4940289" y="3014418"/>
            <a:ext cx="0" cy="23547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5651D18F-F1A1-EFA9-F3EF-D99CBB7EDD24}"/>
              </a:ext>
            </a:extLst>
          </p:cNvPr>
          <p:cNvCxnSpPr>
            <a:cxnSpLocks/>
          </p:cNvCxnSpPr>
          <p:nvPr/>
        </p:nvCxnSpPr>
        <p:spPr>
          <a:xfrm flipV="1">
            <a:off x="8639700" y="3030652"/>
            <a:ext cx="0" cy="2192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06E49A0-D0F3-88E6-13FF-4267699BF236}"/>
              </a:ext>
            </a:extLst>
          </p:cNvPr>
          <p:cNvSpPr/>
          <p:nvPr/>
        </p:nvSpPr>
        <p:spPr>
          <a:xfrm>
            <a:off x="4606105" y="2574530"/>
            <a:ext cx="7091875" cy="470422"/>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a:solidFill>
                  <a:srgbClr val="002060"/>
                </a:solidFill>
              </a:rPr>
              <a:t>Redescente des modifications apportées à la notification de décision et récupération des mises à jour de statuts transmises par les DUI (dont entrées / sorties)</a:t>
            </a:r>
          </a:p>
        </p:txBody>
      </p:sp>
      <p:cxnSp>
        <p:nvCxnSpPr>
          <p:cNvPr id="83" name="Straight Arrow Connector 82">
            <a:extLst>
              <a:ext uri="{FF2B5EF4-FFF2-40B4-BE49-F238E27FC236}">
                <a16:creationId xmlns:a16="http://schemas.microsoft.com/office/drawing/2014/main" id="{E303E759-837C-40AE-5924-ECB53C3A5D0B}"/>
              </a:ext>
            </a:extLst>
          </p:cNvPr>
          <p:cNvCxnSpPr>
            <a:cxnSpLocks/>
            <a:stCxn id="42" idx="2"/>
          </p:cNvCxnSpPr>
          <p:nvPr/>
        </p:nvCxnSpPr>
        <p:spPr>
          <a:xfrm>
            <a:off x="10406927" y="2332942"/>
            <a:ext cx="2191" cy="2415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91765ACD-89BB-CFB9-B862-FFCFFD01CCC0}"/>
              </a:ext>
            </a:extLst>
          </p:cNvPr>
          <p:cNvSpPr/>
          <p:nvPr/>
        </p:nvSpPr>
        <p:spPr>
          <a:xfrm>
            <a:off x="1956413" y="1844459"/>
            <a:ext cx="206472" cy="20007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1</a:t>
            </a:r>
          </a:p>
        </p:txBody>
      </p:sp>
      <p:cxnSp>
        <p:nvCxnSpPr>
          <p:cNvPr id="88" name="Straight Arrow Connector 87">
            <a:extLst>
              <a:ext uri="{FF2B5EF4-FFF2-40B4-BE49-F238E27FC236}">
                <a16:creationId xmlns:a16="http://schemas.microsoft.com/office/drawing/2014/main" id="{9C0C1550-BE09-0493-DFE8-1A776AFC6F98}"/>
              </a:ext>
            </a:extLst>
          </p:cNvPr>
          <p:cNvCxnSpPr>
            <a:cxnSpLocks/>
            <a:stCxn id="21" idx="3"/>
            <a:endCxn id="22" idx="1"/>
          </p:cNvCxnSpPr>
          <p:nvPr/>
        </p:nvCxnSpPr>
        <p:spPr>
          <a:xfrm flipV="1">
            <a:off x="4130767" y="3492050"/>
            <a:ext cx="469338" cy="34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93" name="Graphic 92" descr="Single gear with solid fill">
            <a:extLst>
              <a:ext uri="{FF2B5EF4-FFF2-40B4-BE49-F238E27FC236}">
                <a16:creationId xmlns:a16="http://schemas.microsoft.com/office/drawing/2014/main" id="{ED170058-4A1D-C92C-CEC5-43E08FE24F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3115" y="2356332"/>
            <a:ext cx="252069" cy="266842"/>
          </a:xfrm>
          <a:prstGeom prst="rect">
            <a:avLst/>
          </a:prstGeom>
        </p:spPr>
      </p:pic>
      <p:cxnSp>
        <p:nvCxnSpPr>
          <p:cNvPr id="102" name="Straight Arrow Connector 101">
            <a:extLst>
              <a:ext uri="{FF2B5EF4-FFF2-40B4-BE49-F238E27FC236}">
                <a16:creationId xmlns:a16="http://schemas.microsoft.com/office/drawing/2014/main" id="{361B2784-9DDC-406B-1B96-2DBA3B8A2BD9}"/>
              </a:ext>
            </a:extLst>
          </p:cNvPr>
          <p:cNvCxnSpPr>
            <a:cxnSpLocks/>
          </p:cNvCxnSpPr>
          <p:nvPr/>
        </p:nvCxnSpPr>
        <p:spPr>
          <a:xfrm>
            <a:off x="7030830" y="3014418"/>
            <a:ext cx="0" cy="2398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CD38EF63-E9F8-03C2-223B-5389EB5879CB}"/>
              </a:ext>
            </a:extLst>
          </p:cNvPr>
          <p:cNvSpPr txBox="1"/>
          <p:nvPr/>
        </p:nvSpPr>
        <p:spPr>
          <a:xfrm>
            <a:off x="289177" y="4870549"/>
            <a:ext cx="11408802" cy="1462774"/>
          </a:xfrm>
          <a:prstGeom prst="rect">
            <a:avLst/>
          </a:prstGeom>
          <a:solidFill>
            <a:schemeClr val="bg2">
              <a:lumMod val="20000"/>
              <a:lumOff val="80000"/>
            </a:schemeClr>
          </a:solidFill>
        </p:spPr>
        <p:txBody>
          <a:bodyPr wrap="square" lIns="72000" tIns="108000" rIns="72000" bIns="108000" rtlCol="0" anchor="ctr" anchorCtr="0">
            <a:noAutofit/>
          </a:bodyPr>
          <a:lstStyle/>
          <a:p>
            <a:pPr defTabSz="721766">
              <a:lnSpc>
                <a:spcPct val="120000"/>
              </a:lnSpc>
            </a:pPr>
            <a:r>
              <a:rPr lang="fr-FR" sz="1000" i="1" u="sng" kern="0">
                <a:latin typeface="Arial"/>
                <a:ea typeface="Geneva"/>
                <a:cs typeface="Arial"/>
              </a:rPr>
              <a:t>Cinématique des échanges </a:t>
            </a:r>
            <a:r>
              <a:rPr lang="fr-FR" sz="1000" i="1" kern="0">
                <a:latin typeface="Arial"/>
                <a:ea typeface="Geneva"/>
                <a:cs typeface="Arial"/>
              </a:rPr>
              <a:t>:</a:t>
            </a:r>
          </a:p>
          <a:p>
            <a:pPr marL="171450" indent="-171450" defTabSz="721766">
              <a:lnSpc>
                <a:spcPct val="120000"/>
              </a:lnSpc>
              <a:buFont typeface="Arial" panose="020B0604020202020204" pitchFamily="34" charset="0"/>
              <a:buChar char="•"/>
            </a:pPr>
            <a:r>
              <a:rPr lang="fr-FR" sz="1000" i="1" kern="0">
                <a:latin typeface="Arial"/>
                <a:ea typeface="Geneva"/>
                <a:cs typeface="Arial"/>
              </a:rPr>
              <a:t>A intervalle régulier, les DUI iront interroger ViaTrajectoire sur les nouvelles décisions d’orientation les concernant puis redescendront les informations utiles à leur traitement</a:t>
            </a:r>
          </a:p>
          <a:p>
            <a:pPr marL="171450" indent="-171450" defTabSz="721766">
              <a:lnSpc>
                <a:spcPct val="120000"/>
              </a:lnSpc>
              <a:buFont typeface="Arial" panose="020B0604020202020204" pitchFamily="34" charset="0"/>
              <a:buChar char="•"/>
            </a:pPr>
            <a:r>
              <a:rPr lang="fr-FR" sz="1000" i="1" kern="0">
                <a:latin typeface="Arial"/>
                <a:ea typeface="Geneva"/>
                <a:cs typeface="Arial"/>
              </a:rPr>
              <a:t>Après recueil du consentement de la personne concernée par la notification, les DUI pourront récupérer les données d’évaluation transmises par les MDPH à Via Trajectoire pour poursuivre l’instruction de la demande.</a:t>
            </a:r>
          </a:p>
          <a:p>
            <a:pPr marL="171450" indent="-171450" defTabSz="721766">
              <a:lnSpc>
                <a:spcPct val="120000"/>
              </a:lnSpc>
              <a:buFont typeface="Arial" panose="020B0604020202020204" pitchFamily="34" charset="0"/>
              <a:buChar char="•"/>
            </a:pPr>
            <a:r>
              <a:rPr lang="fr-FR" sz="1000" i="1" kern="0">
                <a:latin typeface="Arial"/>
                <a:ea typeface="Geneva"/>
                <a:cs typeface="Arial"/>
              </a:rPr>
              <a:t>À tout moment, les DUI et ViaTrajectoire communiqueront mutuellement sur les changements de statuts opérés sur les différentes notifications. Cela permettra d’avoir des données à jour d’une part et d’autre, et également d’informer l’ensemble des ESMS qui pourraient être en train d’instruire une notification des dernières mises à jour effectuées. Ainsi, lorsqu’un établissement indique avoir fait entrer un usager dans sa structure, les autres ESMS à qui la notification a été adressée en seront informés.</a:t>
            </a:r>
          </a:p>
        </p:txBody>
      </p:sp>
      <p:pic>
        <p:nvPicPr>
          <p:cNvPr id="126" name="Graphic 125" descr="Single gear with solid fill">
            <a:extLst>
              <a:ext uri="{FF2B5EF4-FFF2-40B4-BE49-F238E27FC236}">
                <a16:creationId xmlns:a16="http://schemas.microsoft.com/office/drawing/2014/main" id="{3364A9F8-5430-488B-D469-A67DEF228E3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83114" y="3024688"/>
            <a:ext cx="252069" cy="266842"/>
          </a:xfrm>
          <a:prstGeom prst="rect">
            <a:avLst/>
          </a:prstGeom>
        </p:spPr>
      </p:pic>
      <p:sp>
        <p:nvSpPr>
          <p:cNvPr id="127" name="Oval 126">
            <a:extLst>
              <a:ext uri="{FF2B5EF4-FFF2-40B4-BE49-F238E27FC236}">
                <a16:creationId xmlns:a16="http://schemas.microsoft.com/office/drawing/2014/main" id="{DEC925A7-BABF-967D-FAE7-76E71A4DE661}"/>
              </a:ext>
            </a:extLst>
          </p:cNvPr>
          <p:cNvSpPr/>
          <p:nvPr/>
        </p:nvSpPr>
        <p:spPr>
          <a:xfrm>
            <a:off x="1962308" y="2536395"/>
            <a:ext cx="206472" cy="20007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2</a:t>
            </a:r>
          </a:p>
        </p:txBody>
      </p:sp>
      <p:sp>
        <p:nvSpPr>
          <p:cNvPr id="128" name="Oval 127">
            <a:extLst>
              <a:ext uri="{FF2B5EF4-FFF2-40B4-BE49-F238E27FC236}">
                <a16:creationId xmlns:a16="http://schemas.microsoft.com/office/drawing/2014/main" id="{6AD86CE5-54AF-4FB9-EF9A-5736C9E38147}"/>
              </a:ext>
            </a:extLst>
          </p:cNvPr>
          <p:cNvSpPr/>
          <p:nvPr/>
        </p:nvSpPr>
        <p:spPr>
          <a:xfrm>
            <a:off x="1953193" y="3195116"/>
            <a:ext cx="206472" cy="200070"/>
          </a:xfrm>
          <a:prstGeom prst="ellips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t>3</a:t>
            </a:r>
          </a:p>
        </p:txBody>
      </p:sp>
    </p:spTree>
    <p:extLst>
      <p:ext uri="{BB962C8B-B14F-4D97-AF65-F5344CB8AC3E}">
        <p14:creationId xmlns:p14="http://schemas.microsoft.com/office/powerpoint/2010/main" val="8200699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Partages de retours d’expérience</a:t>
            </a:r>
            <a:endParaRPr lang="en-US"/>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11</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924232" y="1234440"/>
            <a:ext cx="10423440" cy="4151376"/>
          </a:xfrm>
          <a:prstGeom prst="rect">
            <a:avLst/>
          </a:prstGeom>
          <a:noFill/>
        </p:spPr>
        <p:txBody>
          <a:bodyPr wrap="square" lIns="72000" tIns="108000" rIns="72000" bIns="108000" rtlCol="0" anchor="ctr" anchorCtr="0">
            <a:normAutofit/>
          </a:bodyPr>
          <a:lstStyle/>
          <a:p>
            <a:pPr algn="just" defTabSz="721766">
              <a:spcAft>
                <a:spcPts val="1200"/>
              </a:spcAft>
            </a:pPr>
            <a:r>
              <a:rPr lang="fr-FR" altLang="fr-FR" sz="1600" b="1" u="sng" kern="0">
                <a:solidFill>
                  <a:schemeClr val="accent5">
                    <a:lumMod val="75000"/>
                  </a:schemeClr>
                </a:solidFill>
                <a:ea typeface="Geneva"/>
                <a:cs typeface="Arial"/>
              </a:rPr>
              <a:t>1</a:t>
            </a:r>
            <a:r>
              <a:rPr lang="fr-FR" altLang="fr-FR" sz="1600" b="1" u="sng" kern="0" baseline="30000">
                <a:solidFill>
                  <a:schemeClr val="accent5">
                    <a:lumMod val="75000"/>
                  </a:schemeClr>
                </a:solidFill>
                <a:ea typeface="Geneva"/>
                <a:cs typeface="Arial"/>
              </a:rPr>
              <a:t>er</a:t>
            </a:r>
            <a:r>
              <a:rPr lang="fr-FR" altLang="fr-FR" sz="1600" b="1" u="sng" kern="0">
                <a:solidFill>
                  <a:schemeClr val="accent5">
                    <a:lumMod val="75000"/>
                  </a:schemeClr>
                </a:solidFill>
                <a:ea typeface="Geneva"/>
                <a:cs typeface="Arial"/>
              </a:rPr>
              <a:t> retour d’expérience</a:t>
            </a:r>
          </a:p>
          <a:p>
            <a:pPr algn="just" defTabSz="721766">
              <a:spcAft>
                <a:spcPts val="1200"/>
              </a:spcAft>
            </a:pPr>
            <a:r>
              <a:rPr lang="fr-FR" altLang="fr-FR" sz="1600" kern="0">
                <a:solidFill>
                  <a:schemeClr val="tx2"/>
                </a:solidFill>
                <a:ea typeface="Geneva"/>
                <a:cs typeface="Arial"/>
              </a:rPr>
              <a:t>Témoignage de Thomas COMPTDAER et Emilie BEAUGUITTE (Association Bois l'Abbesse), Damien LEVEQUE et Stéphane GROULT (Evolucare)</a:t>
            </a:r>
          </a:p>
          <a:p>
            <a:pPr algn="just" defTabSz="721766">
              <a:spcAft>
                <a:spcPts val="1200"/>
              </a:spcAft>
            </a:pPr>
            <a:endParaRPr lang="fr-FR" altLang="fr-FR" sz="1600" kern="0">
              <a:solidFill>
                <a:schemeClr val="tx2"/>
              </a:solidFill>
              <a:ea typeface="Geneva"/>
              <a:cs typeface="Arial"/>
            </a:endParaRPr>
          </a:p>
          <a:p>
            <a:pPr algn="just" defTabSz="721766">
              <a:spcAft>
                <a:spcPts val="1200"/>
              </a:spcAft>
            </a:pPr>
            <a:endParaRPr lang="fr-FR" altLang="fr-FR" sz="1600" kern="0">
              <a:solidFill>
                <a:schemeClr val="tx2"/>
              </a:solidFill>
              <a:ea typeface="Geneva"/>
              <a:cs typeface="Arial"/>
            </a:endParaRPr>
          </a:p>
          <a:p>
            <a:pPr algn="just" defTabSz="721766">
              <a:spcAft>
                <a:spcPts val="1200"/>
              </a:spcAft>
            </a:pPr>
            <a:endParaRPr lang="fr-FR" altLang="fr-FR" sz="1600" kern="0">
              <a:solidFill>
                <a:schemeClr val="tx2"/>
              </a:solidFill>
              <a:ea typeface="Geneva"/>
              <a:cs typeface="Arial"/>
            </a:endParaRPr>
          </a:p>
          <a:p>
            <a:pPr algn="just" defTabSz="721766">
              <a:spcAft>
                <a:spcPts val="1200"/>
              </a:spcAft>
            </a:pPr>
            <a:endParaRPr lang="fr-FR" altLang="fr-FR" sz="1600" kern="0">
              <a:solidFill>
                <a:schemeClr val="tx2"/>
              </a:solidFill>
              <a:ea typeface="Geneva"/>
              <a:cs typeface="Arial"/>
            </a:endParaRPr>
          </a:p>
          <a:p>
            <a:pPr algn="just" defTabSz="721766">
              <a:spcAft>
                <a:spcPts val="1200"/>
              </a:spcAft>
            </a:pPr>
            <a:endParaRPr lang="fr-FR" altLang="fr-FR" sz="1600" kern="0">
              <a:solidFill>
                <a:schemeClr val="tx2"/>
              </a:solidFill>
              <a:ea typeface="Geneva"/>
              <a:cs typeface="Arial"/>
            </a:endParaRPr>
          </a:p>
          <a:p>
            <a:pPr algn="just" defTabSz="721766">
              <a:spcAft>
                <a:spcPts val="1200"/>
              </a:spcAft>
            </a:pPr>
            <a:r>
              <a:rPr lang="fr-FR" altLang="fr-FR" sz="1600" b="1" u="sng" kern="0">
                <a:solidFill>
                  <a:schemeClr val="accent5">
                    <a:lumMod val="75000"/>
                  </a:schemeClr>
                </a:solidFill>
                <a:ea typeface="Geneva"/>
                <a:cs typeface="Arial"/>
              </a:rPr>
              <a:t>2</a:t>
            </a:r>
            <a:r>
              <a:rPr lang="fr-FR" altLang="fr-FR" sz="1600" b="1" u="sng" kern="0" baseline="30000">
                <a:solidFill>
                  <a:schemeClr val="accent5">
                    <a:lumMod val="75000"/>
                  </a:schemeClr>
                </a:solidFill>
                <a:ea typeface="Geneva"/>
                <a:cs typeface="Arial"/>
              </a:rPr>
              <a:t>ème</a:t>
            </a:r>
            <a:r>
              <a:rPr lang="fr-FR" altLang="fr-FR" sz="1600" b="1" u="sng" kern="0">
                <a:solidFill>
                  <a:schemeClr val="accent5">
                    <a:lumMod val="75000"/>
                  </a:schemeClr>
                </a:solidFill>
                <a:ea typeface="Geneva"/>
                <a:cs typeface="Arial"/>
              </a:rPr>
              <a:t> retour d’expérience</a:t>
            </a:r>
          </a:p>
          <a:p>
            <a:pPr algn="just">
              <a:spcAft>
                <a:spcPts val="1200"/>
              </a:spcAft>
            </a:pPr>
            <a:r>
              <a:rPr lang="fr-FR" altLang="fr-FR" sz="1600" kern="0">
                <a:solidFill>
                  <a:schemeClr val="tx2"/>
                </a:solidFill>
                <a:ea typeface="Geneva"/>
                <a:cs typeface="Arial"/>
              </a:rPr>
              <a:t>Témoignage de Seyda SEVEN (SociaNova)</a:t>
            </a:r>
          </a:p>
          <a:p>
            <a:pPr lvl="1" algn="just">
              <a:spcAft>
                <a:spcPts val="1200"/>
              </a:spcAft>
            </a:pPr>
            <a:endParaRPr lang="fr-FR" altLang="fr-FR" sz="1400" kern="0">
              <a:solidFill>
                <a:schemeClr val="tx2"/>
              </a:solidFill>
              <a:ea typeface="Geneva"/>
              <a:cs typeface="Arial"/>
            </a:endParaRPr>
          </a:p>
        </p:txBody>
      </p:sp>
      <p:pic>
        <p:nvPicPr>
          <p:cNvPr id="1026" name="Picture 2" descr="Evolucare s'édite chez des fonds régionaux | CFNEWS">
            <a:extLst>
              <a:ext uri="{FF2B5EF4-FFF2-40B4-BE49-F238E27FC236}">
                <a16:creationId xmlns:a16="http://schemas.microsoft.com/office/drawing/2014/main" id="{C2DA29E6-122D-6EDA-F36A-8C2ADF16B9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7163" y="2422589"/>
            <a:ext cx="2152269" cy="6858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ssociation &quot;Le Bois l'Abbesse&quot;">
            <a:extLst>
              <a:ext uri="{FF2B5EF4-FFF2-40B4-BE49-F238E27FC236}">
                <a16:creationId xmlns:a16="http://schemas.microsoft.com/office/drawing/2014/main" id="{69A506B5-9FEB-37B1-979C-986FDB270CC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1147" b="9687"/>
          <a:stretch/>
        </p:blipFill>
        <p:spPr bwMode="auto">
          <a:xfrm>
            <a:off x="924232" y="2368296"/>
            <a:ext cx="1409890" cy="111614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ouvelle identité de marque SociaNova : affirmée &amp; ambitieuse.">
            <a:extLst>
              <a:ext uri="{FF2B5EF4-FFF2-40B4-BE49-F238E27FC236}">
                <a16:creationId xmlns:a16="http://schemas.microsoft.com/office/drawing/2014/main" id="{7618A195-B30E-B7AA-4E2E-BB6416FCAFA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4628" b="23759"/>
          <a:stretch/>
        </p:blipFill>
        <p:spPr bwMode="auto">
          <a:xfrm>
            <a:off x="706264" y="5280647"/>
            <a:ext cx="2284584" cy="685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4558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Déroulé de la présentation</a:t>
            </a:r>
            <a:endParaRPr lang="en-US"/>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2</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924232" y="1512452"/>
            <a:ext cx="10423440" cy="4583548"/>
          </a:xfrm>
          <a:prstGeom prst="rect">
            <a:avLst/>
          </a:prstGeom>
          <a:noFill/>
        </p:spPr>
        <p:txBody>
          <a:bodyPr wrap="square" lIns="72000" tIns="108000" rIns="72000" bIns="108000" rtlCol="0" anchor="ctr" anchorCtr="0">
            <a:normAutofit/>
          </a:bodyPr>
          <a:lstStyle/>
          <a:p>
            <a:pPr algn="just" defTabSz="721766">
              <a:spcAft>
                <a:spcPts val="1200"/>
              </a:spcAft>
            </a:pPr>
            <a:r>
              <a:rPr lang="fr-FR" altLang="fr-FR" sz="1600" b="1" kern="0">
                <a:solidFill>
                  <a:schemeClr val="accent5"/>
                </a:solidFill>
                <a:latin typeface="Arial"/>
                <a:ea typeface="Geneva"/>
                <a:cs typeface="Arial"/>
              </a:rPr>
              <a:t>1. </a:t>
            </a:r>
            <a:r>
              <a:rPr lang="fr-FR" altLang="fr-FR" sz="1600" b="1" kern="0">
                <a:solidFill>
                  <a:schemeClr val="tx2"/>
                </a:solidFill>
                <a:latin typeface="Arial"/>
                <a:ea typeface="Geneva"/>
                <a:cs typeface="Arial"/>
              </a:rPr>
              <a:t>Introduction – Mehdi Zine (ANS)</a:t>
            </a:r>
            <a:endParaRPr lang="fr-FR" altLang="fr-FR" sz="5600" b="1" kern="0">
              <a:solidFill>
                <a:schemeClr val="tx2"/>
              </a:solidFill>
              <a:ea typeface="Geneva"/>
              <a:cs typeface="Arial"/>
            </a:endParaRPr>
          </a:p>
          <a:p>
            <a:pPr algn="just" defTabSz="721766">
              <a:spcAft>
                <a:spcPts val="1200"/>
              </a:spcAft>
            </a:pPr>
            <a:endParaRPr lang="fr-FR" altLang="fr-FR" sz="1600" b="1" kern="0">
              <a:solidFill>
                <a:schemeClr val="tx2"/>
              </a:solidFill>
              <a:latin typeface="Arial"/>
              <a:ea typeface="Geneva"/>
              <a:cs typeface="Arial"/>
            </a:endParaRPr>
          </a:p>
          <a:p>
            <a:pPr algn="just" defTabSz="721766">
              <a:spcAft>
                <a:spcPts val="1200"/>
              </a:spcAft>
            </a:pPr>
            <a:r>
              <a:rPr lang="fr-FR" altLang="fr-FR" sz="1600" b="1" kern="0">
                <a:solidFill>
                  <a:schemeClr val="accent5"/>
                </a:solidFill>
                <a:latin typeface="Arial"/>
                <a:ea typeface="Geneva"/>
                <a:cs typeface="Arial"/>
              </a:rPr>
              <a:t>2. </a:t>
            </a:r>
            <a:r>
              <a:rPr lang="fr-FR" altLang="fr-FR" sz="1600" b="1" kern="0">
                <a:solidFill>
                  <a:schemeClr val="tx2"/>
                </a:solidFill>
                <a:latin typeface="Arial"/>
                <a:ea typeface="Geneva"/>
                <a:cs typeface="Arial"/>
              </a:rPr>
              <a:t>L'interopérabilité avec ViaTrajectoire : travaux actuels et perspectives – Anne-Laure Millet (GCS SARA)</a:t>
            </a:r>
          </a:p>
          <a:p>
            <a:pPr algn="just" defTabSz="721766">
              <a:spcAft>
                <a:spcPts val="1200"/>
              </a:spcAft>
            </a:pPr>
            <a:r>
              <a:rPr lang="fr-FR" altLang="fr-FR" sz="1600" b="1" kern="0">
                <a:solidFill>
                  <a:schemeClr val="tx2"/>
                </a:solidFill>
                <a:ea typeface="Geneva"/>
                <a:cs typeface="Arial"/>
              </a:rPr>
              <a:t>Interopérabilité entre le module PH et les DUI : présentation des travaux en cours – Mehdi Zine et Anne-Hélène Abline (ANS)</a:t>
            </a:r>
          </a:p>
          <a:p>
            <a:pPr marL="285750" indent="-285750" algn="just" defTabSz="721766">
              <a:spcAft>
                <a:spcPts val="1200"/>
              </a:spcAft>
              <a:buFont typeface="Arial"/>
              <a:buChar char="•"/>
            </a:pPr>
            <a:endParaRPr lang="fr-FR" altLang="fr-FR" sz="1600" b="1" kern="0">
              <a:solidFill>
                <a:schemeClr val="tx2"/>
              </a:solidFill>
              <a:ea typeface="Geneva"/>
              <a:cs typeface="Arial"/>
            </a:endParaRPr>
          </a:p>
          <a:p>
            <a:pPr algn="just" defTabSz="721766">
              <a:spcAft>
                <a:spcPts val="1200"/>
              </a:spcAft>
            </a:pPr>
            <a:r>
              <a:rPr lang="fr-FR" altLang="fr-FR" sz="1600" b="1" kern="0">
                <a:solidFill>
                  <a:schemeClr val="accent5"/>
                </a:solidFill>
                <a:ea typeface="Geneva"/>
                <a:cs typeface="Arial"/>
              </a:rPr>
              <a:t>3. </a:t>
            </a:r>
            <a:r>
              <a:rPr lang="fr-FR" altLang="fr-FR" sz="1600" b="1" kern="0">
                <a:solidFill>
                  <a:schemeClr val="tx2"/>
                </a:solidFill>
                <a:ea typeface="Geneva"/>
                <a:cs typeface="Arial"/>
              </a:rPr>
              <a:t>Partage de REX sur le pilote en cours :</a:t>
            </a:r>
          </a:p>
          <a:p>
            <a:pPr marL="742950" lvl="1" indent="-285750" algn="just" defTabSz="721766">
              <a:spcAft>
                <a:spcPts val="1200"/>
              </a:spcAft>
              <a:buFont typeface="Arial"/>
              <a:buChar char="•"/>
            </a:pPr>
            <a:r>
              <a:rPr lang="fr-FR" altLang="fr-FR" sz="1400" kern="0">
                <a:solidFill>
                  <a:schemeClr val="tx2"/>
                </a:solidFill>
                <a:ea typeface="Geneva"/>
                <a:cs typeface="Arial"/>
              </a:rPr>
              <a:t>Témoignage de Thomas </a:t>
            </a:r>
            <a:r>
              <a:rPr lang="fr-FR" altLang="fr-FR" sz="1400" kern="0" err="1">
                <a:solidFill>
                  <a:schemeClr val="tx2"/>
                </a:solidFill>
                <a:ea typeface="Geneva"/>
                <a:cs typeface="Arial"/>
              </a:rPr>
              <a:t>Comptdaer</a:t>
            </a:r>
            <a:r>
              <a:rPr lang="fr-FR" altLang="fr-FR" sz="1400" kern="0">
                <a:solidFill>
                  <a:schemeClr val="tx2"/>
                </a:solidFill>
                <a:ea typeface="Geneva"/>
                <a:cs typeface="Arial"/>
              </a:rPr>
              <a:t> (Association Bois l'Abbesse), Damien Lévêque et Stéphane Groult (Evolucare)</a:t>
            </a:r>
          </a:p>
          <a:p>
            <a:pPr marL="742950" lvl="1" indent="-285750" algn="just">
              <a:spcAft>
                <a:spcPts val="1200"/>
              </a:spcAft>
              <a:buFont typeface="Arial"/>
              <a:buChar char="•"/>
            </a:pPr>
            <a:r>
              <a:rPr lang="fr-FR" altLang="fr-FR" sz="1400" kern="0">
                <a:solidFill>
                  <a:schemeClr val="tx2"/>
                </a:solidFill>
                <a:ea typeface="Geneva"/>
                <a:cs typeface="Arial"/>
              </a:rPr>
              <a:t>Témoignage de Seyda Seven (SociaNova)</a:t>
            </a:r>
          </a:p>
          <a:p>
            <a:pPr lvl="1" algn="just">
              <a:spcAft>
                <a:spcPts val="1200"/>
              </a:spcAft>
            </a:pPr>
            <a:endParaRPr lang="fr-FR" altLang="fr-FR" sz="1400" kern="0">
              <a:solidFill>
                <a:schemeClr val="tx2"/>
              </a:solidFill>
              <a:ea typeface="Geneva"/>
              <a:cs typeface="Arial"/>
            </a:endParaRPr>
          </a:p>
          <a:p>
            <a:pPr algn="just">
              <a:spcAft>
                <a:spcPts val="1200"/>
              </a:spcAft>
            </a:pPr>
            <a:r>
              <a:rPr lang="fr-FR" altLang="fr-FR" sz="1600" b="1" kern="0">
                <a:solidFill>
                  <a:schemeClr val="accent5"/>
                </a:solidFill>
                <a:ea typeface="Geneva"/>
                <a:cs typeface="Arial"/>
              </a:rPr>
              <a:t>4. </a:t>
            </a:r>
            <a:r>
              <a:rPr lang="fr-FR" altLang="fr-FR" sz="1600" b="1" kern="0">
                <a:solidFill>
                  <a:schemeClr val="tx2"/>
                </a:solidFill>
                <a:ea typeface="Geneva"/>
                <a:cs typeface="Arial"/>
              </a:rPr>
              <a:t>Questions / Réponses</a:t>
            </a:r>
          </a:p>
          <a:p>
            <a:pPr algn="ctr"/>
            <a:endParaRPr lang="fr-FR" sz="1500">
              <a:solidFill>
                <a:schemeClr val="tx2"/>
              </a:solidFill>
              <a:ea typeface="Geneva"/>
              <a:cs typeface="Arial"/>
            </a:endParaRPr>
          </a:p>
        </p:txBody>
      </p:sp>
    </p:spTree>
    <p:extLst>
      <p:ext uri="{BB962C8B-B14F-4D97-AF65-F5344CB8AC3E}">
        <p14:creationId xmlns:p14="http://schemas.microsoft.com/office/powerpoint/2010/main" val="15008677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L'interopérabilité avec ViaTrajectoire : existant et perspectives</a:t>
            </a:r>
            <a:endParaRPr lang="fr-F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3</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298321" y="982366"/>
            <a:ext cx="11625824" cy="2518216"/>
          </a:xfrm>
          <a:prstGeom prst="rect">
            <a:avLst/>
          </a:prstGeom>
          <a:noFill/>
        </p:spPr>
        <p:txBody>
          <a:bodyPr wrap="square" lIns="72000" tIns="108000" rIns="72000" bIns="108000" rtlCol="0" anchor="ctr" anchorCtr="0">
            <a:normAutofit fontScale="85000" lnSpcReduction="20000"/>
          </a:bodyPr>
          <a:lstStyle/>
          <a:p>
            <a:pPr marL="342900" indent="-342900" algn="just" defTabSz="721766">
              <a:spcAft>
                <a:spcPts val="800"/>
              </a:spcAft>
              <a:buFont typeface="Wingdings" panose="05000000000000000000" pitchFamily="2" charset="2"/>
              <a:buChar char="ü"/>
            </a:pPr>
            <a:r>
              <a:rPr lang="fr-FR" altLang="fr-FR" sz="2000" b="1" u="sng" kern="0">
                <a:solidFill>
                  <a:schemeClr val="tx2"/>
                </a:solidFill>
                <a:ea typeface="Geneva"/>
                <a:cs typeface="Arial"/>
              </a:rPr>
              <a:t>Transfert de contexte</a:t>
            </a:r>
          </a:p>
          <a:p>
            <a:endParaRPr lang="fr-FR" sz="1600" b="1" kern="0">
              <a:solidFill>
                <a:schemeClr val="tx2"/>
              </a:solidFill>
              <a:ea typeface="Geneva"/>
              <a:cs typeface="Arial"/>
            </a:endParaRPr>
          </a:p>
          <a:p>
            <a:r>
              <a:rPr lang="fr-FR" sz="1600" b="1" kern="0">
                <a:solidFill>
                  <a:schemeClr val="tx2"/>
                </a:solidFill>
                <a:ea typeface="Geneva"/>
                <a:cs typeface="Arial"/>
              </a:rPr>
              <a:t>Objectif(s)</a:t>
            </a:r>
          </a:p>
          <a:p>
            <a:endParaRPr lang="fr-FR" sz="1500"/>
          </a:p>
          <a:p>
            <a:r>
              <a:rPr lang="fr-FR" sz="1500"/>
              <a:t>Permettre à un logiciel (DPI, DUI, e-Parcours ou autres) de transférer les données administratives et médicales d’un patient en vue d’initialiser un dossier de demande d’admission dans ViaTrajectoire.</a:t>
            </a:r>
          </a:p>
          <a:p>
            <a:endParaRPr lang="fr-FR" sz="1500"/>
          </a:p>
          <a:p>
            <a:r>
              <a:rPr lang="fr-FR" sz="1500"/>
              <a:t>~50 données transférables (INS, patient, médecin traitant, données médicales, aspect social …)</a:t>
            </a:r>
          </a:p>
          <a:p>
            <a:endParaRPr lang="fr-FR" sz="1500" b="1"/>
          </a:p>
          <a:p>
            <a:r>
              <a:rPr lang="fr-FR" sz="1600" b="1" kern="0">
                <a:solidFill>
                  <a:schemeClr val="tx2"/>
                </a:solidFill>
                <a:ea typeface="Geneva"/>
                <a:cs typeface="Arial"/>
              </a:rPr>
              <a:t>Cible(s)</a:t>
            </a:r>
          </a:p>
          <a:p>
            <a:endParaRPr lang="fr-FR" sz="1500"/>
          </a:p>
          <a:p>
            <a:r>
              <a:rPr lang="fr-FR" sz="1500"/>
              <a:t>SI des Etablissements</a:t>
            </a:r>
            <a:endParaRPr lang="fr-FR" sz="1500" kern="0">
              <a:latin typeface="Arial"/>
              <a:ea typeface="Geneva"/>
              <a:cs typeface="Arial"/>
            </a:endParaRPr>
          </a:p>
          <a:p>
            <a:pPr algn="ctr"/>
            <a:endParaRPr lang="fr-FR" sz="1500">
              <a:solidFill>
                <a:srgbClr val="575757"/>
              </a:solidFill>
            </a:endParaRPr>
          </a:p>
        </p:txBody>
      </p:sp>
      <p:pic>
        <p:nvPicPr>
          <p:cNvPr id="6" name="Image 5">
            <a:extLst>
              <a:ext uri="{FF2B5EF4-FFF2-40B4-BE49-F238E27FC236}">
                <a16:creationId xmlns:a16="http://schemas.microsoft.com/office/drawing/2014/main" id="{5A370E21-36F1-4EFF-88B8-BD1289175F51}"/>
              </a:ext>
            </a:extLst>
          </p:cNvPr>
          <p:cNvPicPr>
            <a:picLocks noChangeAspect="1"/>
          </p:cNvPicPr>
          <p:nvPr/>
        </p:nvPicPr>
        <p:blipFill>
          <a:blip r:embed="rId3"/>
          <a:stretch>
            <a:fillRect/>
          </a:stretch>
        </p:blipFill>
        <p:spPr>
          <a:xfrm>
            <a:off x="7853419" y="2107546"/>
            <a:ext cx="4070726" cy="4464204"/>
          </a:xfrm>
          <a:prstGeom prst="rect">
            <a:avLst/>
          </a:prstGeom>
          <a:ln>
            <a:noFill/>
          </a:ln>
          <a:effectLst>
            <a:outerShdw blurRad="292100" dist="139700" dir="2700000" algn="tl" rotWithShape="0">
              <a:srgbClr val="333333">
                <a:alpha val="65000"/>
              </a:srgbClr>
            </a:outerShdw>
          </a:effectLst>
        </p:spPr>
      </p:pic>
      <p:pic>
        <p:nvPicPr>
          <p:cNvPr id="7" name="Image 6">
            <a:extLst>
              <a:ext uri="{FF2B5EF4-FFF2-40B4-BE49-F238E27FC236}">
                <a16:creationId xmlns:a16="http://schemas.microsoft.com/office/drawing/2014/main" id="{8FD74E9F-B23E-45CB-A558-F0E9A2D91528}"/>
              </a:ext>
            </a:extLst>
          </p:cNvPr>
          <p:cNvPicPr>
            <a:picLocks noChangeAspect="1"/>
          </p:cNvPicPr>
          <p:nvPr/>
        </p:nvPicPr>
        <p:blipFill rotWithShape="1">
          <a:blip r:embed="rId4"/>
          <a:srcRect b="27218"/>
          <a:stretch/>
        </p:blipFill>
        <p:spPr>
          <a:xfrm>
            <a:off x="526456" y="3266770"/>
            <a:ext cx="7017593" cy="3249115"/>
          </a:xfrm>
          <a:prstGeom prst="rect">
            <a:avLst/>
          </a:prstGeom>
          <a:ln>
            <a:noFill/>
          </a:ln>
          <a:effectLst>
            <a:outerShdw blurRad="292100" dist="139700" dir="2700000" algn="tl" rotWithShape="0">
              <a:srgbClr val="333333">
                <a:alpha val="65000"/>
              </a:srgbClr>
            </a:outerShdw>
          </a:effectLst>
        </p:spPr>
      </p:pic>
      <p:sp>
        <p:nvSpPr>
          <p:cNvPr id="8" name="Flèche : droite 8">
            <a:extLst>
              <a:ext uri="{FF2B5EF4-FFF2-40B4-BE49-F238E27FC236}">
                <a16:creationId xmlns:a16="http://schemas.microsoft.com/office/drawing/2014/main" id="{04A43B94-31C8-49B9-B53B-AB8F31AC9094}"/>
              </a:ext>
            </a:extLst>
          </p:cNvPr>
          <p:cNvSpPr/>
          <p:nvPr/>
        </p:nvSpPr>
        <p:spPr>
          <a:xfrm>
            <a:off x="7087639" y="3378453"/>
            <a:ext cx="814472" cy="230909"/>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2681021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L'interopérabilité avec ViaTrajectoire : existant et perspectives</a:t>
            </a:r>
            <a:endParaRPr lang="fr-F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4</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298321" y="982365"/>
            <a:ext cx="11625824" cy="5483090"/>
          </a:xfrm>
          <a:prstGeom prst="rect">
            <a:avLst/>
          </a:prstGeom>
          <a:noFill/>
        </p:spPr>
        <p:txBody>
          <a:bodyPr wrap="square" lIns="72000" tIns="108000" rIns="72000" bIns="108000" rtlCol="0" anchor="ctr" anchorCtr="0">
            <a:normAutofit/>
          </a:bodyPr>
          <a:lstStyle/>
          <a:p>
            <a:pPr marL="342900" indent="-342900" algn="just" defTabSz="721766">
              <a:spcAft>
                <a:spcPts val="800"/>
              </a:spcAft>
              <a:buFont typeface="Wingdings" panose="05000000000000000000" pitchFamily="2" charset="2"/>
              <a:buChar char="ü"/>
            </a:pPr>
            <a:r>
              <a:rPr lang="fr-FR" altLang="fr-FR" sz="1700" b="1" u="sng" kern="0">
                <a:solidFill>
                  <a:schemeClr val="tx2"/>
                </a:solidFill>
                <a:ea typeface="Geneva"/>
                <a:cs typeface="Arial"/>
              </a:rPr>
              <a:t>Transfert de contexte</a:t>
            </a:r>
          </a:p>
          <a:p>
            <a:endParaRPr lang="fr-FR" sz="1500"/>
          </a:p>
          <a:p>
            <a:r>
              <a:rPr lang="fr-FR" sz="1400" b="1" kern="0">
                <a:solidFill>
                  <a:schemeClr val="tx2"/>
                </a:solidFill>
                <a:ea typeface="Geneva"/>
                <a:cs typeface="Arial"/>
              </a:rPr>
              <a:t>Norme(s) : </a:t>
            </a:r>
            <a:r>
              <a:rPr lang="fr-FR" sz="1300"/>
              <a:t>REST/FHIR</a:t>
            </a:r>
          </a:p>
          <a:p>
            <a:endParaRPr lang="fr-FR" b="1" kern="0">
              <a:solidFill>
                <a:schemeClr val="tx2"/>
              </a:solidFill>
              <a:ea typeface="Geneva"/>
              <a:cs typeface="Arial"/>
            </a:endParaRPr>
          </a:p>
          <a:p>
            <a:r>
              <a:rPr lang="fr-FR" sz="1400" b="1" kern="0">
                <a:solidFill>
                  <a:schemeClr val="tx2"/>
                </a:solidFill>
                <a:ea typeface="Geneva"/>
                <a:cs typeface="Arial"/>
              </a:rPr>
              <a:t>Etapes</a:t>
            </a:r>
            <a:endParaRPr lang="fr-FR" sz="1400"/>
          </a:p>
          <a:p>
            <a:pPr marL="342900" indent="-342900">
              <a:buFont typeface="+mj-lt"/>
              <a:buAutoNum type="arabicPeriod"/>
            </a:pPr>
            <a:r>
              <a:rPr lang="fr-FR" sz="1300"/>
              <a:t>Collecte des données dans le SIH</a:t>
            </a:r>
          </a:p>
          <a:p>
            <a:pPr marL="342900" indent="-342900">
              <a:buFont typeface="+mj-lt"/>
              <a:buAutoNum type="arabicPeriod"/>
            </a:pPr>
            <a:r>
              <a:rPr lang="fr-FR" sz="1300"/>
              <a:t>Génération d’un bundle FHIR</a:t>
            </a:r>
          </a:p>
          <a:p>
            <a:pPr marL="342900" indent="-342900">
              <a:buFont typeface="+mj-lt"/>
              <a:buAutoNum type="arabicPeriod"/>
            </a:pPr>
            <a:r>
              <a:rPr lang="fr-FR" sz="1300"/>
              <a:t>Post du bundle/récupération de l’ID du bundle</a:t>
            </a:r>
          </a:p>
          <a:p>
            <a:pPr marL="342900" indent="-342900">
              <a:buFont typeface="+mj-lt"/>
              <a:buAutoNum type="arabicPeriod"/>
            </a:pPr>
            <a:r>
              <a:rPr lang="fr-FR" sz="1300"/>
              <a:t>Redirection vers </a:t>
            </a:r>
            <a:r>
              <a:rPr lang="fr-FR" sz="1300" err="1"/>
              <a:t>ViaTrajectoire</a:t>
            </a:r>
            <a:r>
              <a:rPr lang="fr-FR" sz="1300"/>
              <a:t> en transmettant l’ID du bundle</a:t>
            </a:r>
          </a:p>
          <a:p>
            <a:pPr marL="342900" indent="-342900">
              <a:buFont typeface="+mj-lt"/>
              <a:buAutoNum type="arabicPeriod"/>
            </a:pPr>
            <a:endParaRPr lang="fr-FR" sz="1300"/>
          </a:p>
          <a:p>
            <a:endParaRPr lang="fr-FR" sz="1300" b="1" kern="0">
              <a:solidFill>
                <a:schemeClr val="tx2"/>
              </a:solidFill>
              <a:ea typeface="Geneva"/>
              <a:cs typeface="Arial"/>
            </a:endParaRPr>
          </a:p>
          <a:p>
            <a:endParaRPr lang="fr-FR" b="1" kern="0">
              <a:solidFill>
                <a:schemeClr val="tx2"/>
              </a:solidFill>
              <a:ea typeface="Geneva"/>
              <a:cs typeface="Arial"/>
            </a:endParaRPr>
          </a:p>
          <a:p>
            <a:endParaRPr lang="fr-FR" b="1" kern="0">
              <a:solidFill>
                <a:schemeClr val="tx2"/>
              </a:solidFill>
              <a:ea typeface="Geneva"/>
              <a:cs typeface="Arial"/>
            </a:endParaRPr>
          </a:p>
          <a:p>
            <a:endParaRPr lang="fr-FR" b="1" kern="0">
              <a:solidFill>
                <a:schemeClr val="tx2"/>
              </a:solidFill>
              <a:ea typeface="Geneva"/>
              <a:cs typeface="Arial"/>
            </a:endParaRPr>
          </a:p>
          <a:p>
            <a:endParaRPr lang="fr-FR" b="1" kern="0">
              <a:solidFill>
                <a:schemeClr val="tx2"/>
              </a:solidFill>
              <a:ea typeface="Geneva"/>
              <a:cs typeface="Arial"/>
            </a:endParaRPr>
          </a:p>
          <a:p>
            <a:endParaRPr lang="fr-FR" b="1" kern="0">
              <a:solidFill>
                <a:schemeClr val="tx2"/>
              </a:solidFill>
              <a:ea typeface="Geneva"/>
              <a:cs typeface="Arial"/>
            </a:endParaRPr>
          </a:p>
          <a:p>
            <a:pPr marL="285750" indent="-285750">
              <a:buFont typeface="Wingdings" panose="05000000000000000000" pitchFamily="2" charset="2"/>
              <a:buChar char="Ø"/>
            </a:pPr>
            <a:endParaRPr lang="fr-FR" b="1" kern="0">
              <a:solidFill>
                <a:schemeClr val="tx2"/>
              </a:solidFill>
              <a:ea typeface="Geneva"/>
              <a:cs typeface="Arial"/>
            </a:endParaRPr>
          </a:p>
          <a:p>
            <a:pPr marL="285750" indent="-285750">
              <a:buFont typeface="Wingdings" panose="05000000000000000000" pitchFamily="2" charset="2"/>
              <a:buChar char="Ø"/>
            </a:pPr>
            <a:r>
              <a:rPr lang="fr-FR" sz="1600" b="1" u="sng" kern="0">
                <a:solidFill>
                  <a:schemeClr val="tx2"/>
                </a:solidFill>
                <a:ea typeface="Geneva"/>
                <a:cs typeface="Arial"/>
              </a:rPr>
              <a:t>Prochaines étapes :</a:t>
            </a:r>
          </a:p>
          <a:p>
            <a:pPr marL="171450" indent="-171450">
              <a:buFontTx/>
              <a:buChar char="-"/>
            </a:pPr>
            <a:endParaRPr lang="fr-FR" sz="1600"/>
          </a:p>
          <a:p>
            <a:pPr marL="171450" indent="-171450">
              <a:buFontTx/>
              <a:buChar char="-"/>
            </a:pPr>
            <a:r>
              <a:rPr lang="fr-FR" sz="1600"/>
              <a:t>Intégration de l’INS dans le flux de transfert existant</a:t>
            </a:r>
          </a:p>
          <a:p>
            <a:pPr marL="171450" indent="-171450">
              <a:buFontTx/>
              <a:buChar char="-"/>
            </a:pPr>
            <a:r>
              <a:rPr lang="fr-FR" sz="1600"/>
              <a:t>Développement d’un flux retour </a:t>
            </a:r>
            <a:r>
              <a:rPr lang="fr-FR" sz="1600" err="1"/>
              <a:t>ViaTrajectoire</a:t>
            </a:r>
            <a:r>
              <a:rPr lang="fr-FR" sz="1600"/>
              <a:t> vers DPI/DUI/</a:t>
            </a:r>
            <a:r>
              <a:rPr lang="fr-FR" sz="1600" err="1"/>
              <a:t>BedManagement</a:t>
            </a:r>
            <a:r>
              <a:rPr lang="fr-FR" sz="1600"/>
              <a:t> : renvoi des dates de prise en charge…</a:t>
            </a:r>
          </a:p>
          <a:p>
            <a:endParaRPr lang="fr-FR" sz="1500" b="1"/>
          </a:p>
        </p:txBody>
      </p:sp>
      <p:pic>
        <p:nvPicPr>
          <p:cNvPr id="9" name="Image 8">
            <a:extLst>
              <a:ext uri="{FF2B5EF4-FFF2-40B4-BE49-F238E27FC236}">
                <a16:creationId xmlns:a16="http://schemas.microsoft.com/office/drawing/2014/main" id="{D03BCC1D-0FE0-4E97-AD8B-18F77E689F03}"/>
              </a:ext>
            </a:extLst>
          </p:cNvPr>
          <p:cNvPicPr>
            <a:picLocks noChangeAspect="1"/>
          </p:cNvPicPr>
          <p:nvPr/>
        </p:nvPicPr>
        <p:blipFill>
          <a:blip r:embed="rId3"/>
          <a:stretch>
            <a:fillRect/>
          </a:stretch>
        </p:blipFill>
        <p:spPr>
          <a:xfrm>
            <a:off x="5623215" y="1127907"/>
            <a:ext cx="6124575" cy="4038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420784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L'interopérabilité avec ViaTrajectoire : existant et perspectives</a:t>
            </a:r>
            <a:endParaRPr lang="fr-F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5</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298321" y="982366"/>
            <a:ext cx="11625824" cy="2518216"/>
          </a:xfrm>
          <a:prstGeom prst="rect">
            <a:avLst/>
          </a:prstGeom>
          <a:noFill/>
        </p:spPr>
        <p:txBody>
          <a:bodyPr wrap="square" lIns="72000" tIns="108000" rIns="72000" bIns="108000" rtlCol="0" anchor="t" anchorCtr="0">
            <a:normAutofit lnSpcReduction="10000"/>
          </a:bodyPr>
          <a:lstStyle/>
          <a:p>
            <a:pPr marL="342900" indent="-342900" algn="just" defTabSz="721766">
              <a:spcAft>
                <a:spcPts val="800"/>
              </a:spcAft>
              <a:buFont typeface="Wingdings" panose="05000000000000000000" pitchFamily="2" charset="2"/>
              <a:buChar char="ü"/>
            </a:pPr>
            <a:r>
              <a:rPr lang="fr-FR" altLang="fr-FR" sz="1700" b="1" u="sng" kern="0">
                <a:solidFill>
                  <a:schemeClr val="tx2"/>
                </a:solidFill>
                <a:ea typeface="Geneva"/>
                <a:cs typeface="Arial"/>
              </a:rPr>
              <a:t>API receveur Grand Age</a:t>
            </a:r>
          </a:p>
          <a:p>
            <a:endParaRPr lang="fr-FR" sz="1600" b="1" kern="0">
              <a:solidFill>
                <a:schemeClr val="tx2"/>
              </a:solidFill>
              <a:ea typeface="Geneva"/>
              <a:cs typeface="Arial"/>
            </a:endParaRPr>
          </a:p>
          <a:p>
            <a:r>
              <a:rPr lang="fr-FR" sz="1400" b="1" kern="0">
                <a:solidFill>
                  <a:schemeClr val="tx2"/>
                </a:solidFill>
                <a:ea typeface="Geneva"/>
                <a:cs typeface="Arial"/>
              </a:rPr>
              <a:t>Objectif(s)</a:t>
            </a:r>
          </a:p>
          <a:p>
            <a:endParaRPr lang="fr-FR" sz="1500"/>
          </a:p>
          <a:p>
            <a:r>
              <a:rPr lang="fr-FR" sz="1300"/>
              <a:t>Offrir la possibilité aux établissements receveurs de demandes d’admission en </a:t>
            </a:r>
            <a:r>
              <a:rPr lang="fr-FR" sz="1300" err="1"/>
              <a:t>Ehpad</a:t>
            </a:r>
            <a:r>
              <a:rPr lang="fr-FR" sz="1300"/>
              <a:t>/Résidence autonomie de gérer au sein de leur Système d’Information (SI) les demandes d’admission issues de </a:t>
            </a:r>
            <a:r>
              <a:rPr lang="fr-FR" sz="1300" err="1"/>
              <a:t>ViaTrajectoire</a:t>
            </a:r>
            <a:endParaRPr lang="fr-FR" sz="1300" b="1"/>
          </a:p>
          <a:p>
            <a:endParaRPr lang="fr-FR" sz="1600" b="1" kern="0">
              <a:solidFill>
                <a:schemeClr val="tx2"/>
              </a:solidFill>
              <a:ea typeface="Geneva"/>
              <a:cs typeface="Arial"/>
            </a:endParaRPr>
          </a:p>
          <a:p>
            <a:r>
              <a:rPr lang="fr-FR" sz="1400" b="1" kern="0">
                <a:solidFill>
                  <a:schemeClr val="tx2"/>
                </a:solidFill>
                <a:ea typeface="Geneva"/>
                <a:cs typeface="Arial"/>
              </a:rPr>
              <a:t>Cible(s)</a:t>
            </a:r>
          </a:p>
          <a:p>
            <a:endParaRPr lang="fr-FR" sz="1500"/>
          </a:p>
          <a:p>
            <a:r>
              <a:rPr lang="fr-FR" sz="1300"/>
              <a:t>SI des </a:t>
            </a:r>
            <a:r>
              <a:rPr lang="fr-FR" sz="1300" err="1"/>
              <a:t>Ehpad</a:t>
            </a:r>
            <a:r>
              <a:rPr lang="fr-FR" sz="1300"/>
              <a:t> (généralement un CRM)</a:t>
            </a:r>
            <a:endParaRPr lang="fr-FR" sz="1300">
              <a:solidFill>
                <a:srgbClr val="575757"/>
              </a:solidFill>
            </a:endParaRPr>
          </a:p>
        </p:txBody>
      </p:sp>
      <p:pic>
        <p:nvPicPr>
          <p:cNvPr id="9" name="Image 8">
            <a:extLst>
              <a:ext uri="{FF2B5EF4-FFF2-40B4-BE49-F238E27FC236}">
                <a16:creationId xmlns:a16="http://schemas.microsoft.com/office/drawing/2014/main" id="{B7E62BC5-61C9-4C4E-B102-66615DC00ED7}"/>
              </a:ext>
            </a:extLst>
          </p:cNvPr>
          <p:cNvPicPr>
            <a:picLocks noChangeAspect="1"/>
          </p:cNvPicPr>
          <p:nvPr/>
        </p:nvPicPr>
        <p:blipFill>
          <a:blip r:embed="rId3"/>
          <a:stretch>
            <a:fillRect/>
          </a:stretch>
        </p:blipFill>
        <p:spPr>
          <a:xfrm>
            <a:off x="962970" y="3539836"/>
            <a:ext cx="10296525" cy="1552575"/>
          </a:xfrm>
          <a:prstGeom prst="rect">
            <a:avLst/>
          </a:prstGeom>
          <a:ln>
            <a:noFill/>
          </a:ln>
          <a:effectLst>
            <a:outerShdw blurRad="292100" dist="139700" dir="2700000" algn="tl" rotWithShape="0">
              <a:srgbClr val="333333">
                <a:alpha val="65000"/>
              </a:srgbClr>
            </a:outerShdw>
          </a:effectLst>
        </p:spPr>
      </p:pic>
      <p:pic>
        <p:nvPicPr>
          <p:cNvPr id="11" name="Image 10">
            <a:extLst>
              <a:ext uri="{FF2B5EF4-FFF2-40B4-BE49-F238E27FC236}">
                <a16:creationId xmlns:a16="http://schemas.microsoft.com/office/drawing/2014/main" id="{18FB76E0-6CB8-49F9-B78F-C50DF9B9E74F}"/>
              </a:ext>
            </a:extLst>
          </p:cNvPr>
          <p:cNvPicPr>
            <a:picLocks noChangeAspect="1"/>
          </p:cNvPicPr>
          <p:nvPr/>
        </p:nvPicPr>
        <p:blipFill>
          <a:blip r:embed="rId4"/>
          <a:stretch>
            <a:fillRect/>
          </a:stretch>
        </p:blipFill>
        <p:spPr>
          <a:xfrm>
            <a:off x="2572694" y="5730137"/>
            <a:ext cx="7077075" cy="923925"/>
          </a:xfrm>
          <a:prstGeom prst="rect">
            <a:avLst/>
          </a:prstGeom>
          <a:ln>
            <a:noFill/>
          </a:ln>
          <a:effectLst>
            <a:outerShdw blurRad="292100" dist="139700" dir="2700000" algn="tl" rotWithShape="0">
              <a:srgbClr val="333333">
                <a:alpha val="65000"/>
              </a:srgbClr>
            </a:outerShdw>
          </a:effectLst>
        </p:spPr>
      </p:pic>
      <p:sp>
        <p:nvSpPr>
          <p:cNvPr id="10" name="Flèche : double flèche verticale 5">
            <a:extLst>
              <a:ext uri="{FF2B5EF4-FFF2-40B4-BE49-F238E27FC236}">
                <a16:creationId xmlns:a16="http://schemas.microsoft.com/office/drawing/2014/main" id="{A69E2952-95C9-4B51-BB47-F62207EEB1E4}"/>
              </a:ext>
            </a:extLst>
          </p:cNvPr>
          <p:cNvSpPr/>
          <p:nvPr/>
        </p:nvSpPr>
        <p:spPr>
          <a:xfrm>
            <a:off x="5908030" y="4960919"/>
            <a:ext cx="406401" cy="810060"/>
          </a:xfrm>
          <a:prstGeom prst="up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988443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L'interopérabilité avec </a:t>
            </a:r>
            <a:r>
              <a:rPr lang="fr-FR" sz="2650" err="1"/>
              <a:t>ViaTrajectoire</a:t>
            </a:r>
            <a:r>
              <a:rPr lang="fr-FR" sz="2650"/>
              <a:t> : existant et perspectives</a:t>
            </a:r>
            <a:endParaRPr lang="fr-F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6</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298321" y="982365"/>
            <a:ext cx="11625824" cy="5350957"/>
          </a:xfrm>
          <a:prstGeom prst="rect">
            <a:avLst/>
          </a:prstGeom>
          <a:noFill/>
        </p:spPr>
        <p:txBody>
          <a:bodyPr wrap="square" lIns="72000" tIns="108000" rIns="72000" bIns="108000" rtlCol="0" anchor="t" anchorCtr="0">
            <a:normAutofit/>
          </a:bodyPr>
          <a:lstStyle/>
          <a:p>
            <a:pPr marL="342900" indent="-342900" algn="just" defTabSz="721766">
              <a:spcAft>
                <a:spcPts val="800"/>
              </a:spcAft>
              <a:buFont typeface="Wingdings" panose="05000000000000000000" pitchFamily="2" charset="2"/>
              <a:buChar char="ü"/>
            </a:pPr>
            <a:r>
              <a:rPr lang="fr-FR" altLang="fr-FR" sz="1700" b="1" u="sng" kern="0">
                <a:solidFill>
                  <a:schemeClr val="tx2"/>
                </a:solidFill>
                <a:ea typeface="Geneva"/>
                <a:cs typeface="Arial"/>
              </a:rPr>
              <a:t>API receveur Grand Age</a:t>
            </a:r>
          </a:p>
          <a:p>
            <a:endParaRPr lang="fr-FR" sz="1500"/>
          </a:p>
          <a:p>
            <a:r>
              <a:rPr lang="fr-FR" sz="1400" b="1" kern="0">
                <a:solidFill>
                  <a:schemeClr val="tx2"/>
                </a:solidFill>
                <a:ea typeface="Geneva"/>
                <a:cs typeface="Arial"/>
              </a:rPr>
              <a:t>Norme(s) : </a:t>
            </a:r>
            <a:r>
              <a:rPr lang="fr-FR" sz="1400" kern="0">
                <a:ea typeface="Geneva"/>
                <a:cs typeface="Arial"/>
              </a:rPr>
              <a:t>API SOAP/MOS/SMTP</a:t>
            </a:r>
            <a:endParaRPr lang="fr-FR" sz="1300"/>
          </a:p>
          <a:p>
            <a:endParaRPr lang="fr-FR" b="1" kern="0">
              <a:solidFill>
                <a:schemeClr val="tx2"/>
              </a:solidFill>
              <a:ea typeface="Geneva"/>
              <a:cs typeface="Arial"/>
            </a:endParaRPr>
          </a:p>
          <a:p>
            <a:r>
              <a:rPr lang="fr-FR" sz="1400" b="1" kern="0">
                <a:solidFill>
                  <a:schemeClr val="tx2"/>
                </a:solidFill>
                <a:ea typeface="Geneva"/>
                <a:cs typeface="Arial"/>
              </a:rPr>
              <a:t>Etapes</a:t>
            </a:r>
            <a:endParaRPr lang="fr-FR" sz="1400"/>
          </a:p>
          <a:p>
            <a:pPr marL="342900" indent="-342900">
              <a:buFont typeface="+mj-lt"/>
              <a:buAutoNum type="arabicPeriod"/>
            </a:pPr>
            <a:r>
              <a:rPr lang="fr-FR" sz="1300"/>
              <a:t>Récupération des notifications SMTP</a:t>
            </a:r>
          </a:p>
          <a:p>
            <a:pPr marL="342900" indent="-342900">
              <a:buFont typeface="+mj-lt"/>
              <a:buAutoNum type="arabicPeriod"/>
            </a:pPr>
            <a:r>
              <a:rPr lang="fr-FR" sz="1300"/>
              <a:t>Récupération des données des demandes adressées à l’</a:t>
            </a:r>
            <a:r>
              <a:rPr lang="fr-FR" sz="1300" err="1"/>
              <a:t>Ehpad</a:t>
            </a:r>
            <a:r>
              <a:rPr lang="fr-FR" sz="1300"/>
              <a:t>/RA (API Consultation)</a:t>
            </a:r>
          </a:p>
          <a:p>
            <a:pPr marL="342900" indent="-342900">
              <a:buFont typeface="+mj-lt"/>
              <a:buAutoNum type="arabicPeriod"/>
            </a:pPr>
            <a:r>
              <a:rPr lang="fr-FR" sz="1300"/>
              <a:t>Intégration/maj. des demandes dans le CRM</a:t>
            </a:r>
          </a:p>
          <a:p>
            <a:pPr marL="342900" indent="-342900">
              <a:buFont typeface="+mj-lt"/>
              <a:buAutoNum type="arabicPeriod"/>
            </a:pPr>
            <a:r>
              <a:rPr lang="fr-FR" sz="1300"/>
              <a:t>Envoi des réponses faites dans le CRM vers </a:t>
            </a:r>
            <a:r>
              <a:rPr lang="fr-FR" sz="1300" err="1"/>
              <a:t>ViaTrajectoire</a:t>
            </a:r>
            <a:r>
              <a:rPr lang="fr-FR" sz="1300"/>
              <a:t> (API Réponse)</a:t>
            </a:r>
          </a:p>
          <a:p>
            <a:pPr marL="342900" indent="-342900">
              <a:buFont typeface="+mj-lt"/>
              <a:buAutoNum type="arabicPeriod"/>
            </a:pPr>
            <a:endParaRPr lang="fr-FR" sz="1300"/>
          </a:p>
          <a:p>
            <a:endParaRPr lang="fr-FR" sz="1300" b="1" kern="0">
              <a:solidFill>
                <a:schemeClr val="tx2"/>
              </a:solidFill>
              <a:ea typeface="Geneva"/>
              <a:cs typeface="Arial"/>
            </a:endParaRPr>
          </a:p>
          <a:p>
            <a:endParaRPr lang="fr-FR" b="1" kern="0">
              <a:solidFill>
                <a:schemeClr val="tx2"/>
              </a:solidFill>
              <a:ea typeface="Geneva"/>
              <a:cs typeface="Arial"/>
            </a:endParaRPr>
          </a:p>
          <a:p>
            <a:endParaRPr lang="fr-FR" b="1" kern="0">
              <a:solidFill>
                <a:schemeClr val="tx2"/>
              </a:solidFill>
              <a:ea typeface="Geneva"/>
              <a:cs typeface="Arial"/>
            </a:endParaRPr>
          </a:p>
          <a:p>
            <a:pPr marL="285750" indent="-285750">
              <a:buFont typeface="Wingdings" panose="05000000000000000000" pitchFamily="2" charset="2"/>
              <a:buChar char="Ø"/>
            </a:pPr>
            <a:endParaRPr lang="fr-FR" b="1" kern="0">
              <a:solidFill>
                <a:schemeClr val="tx2"/>
              </a:solidFill>
              <a:ea typeface="Geneva"/>
              <a:cs typeface="Arial"/>
            </a:endParaRPr>
          </a:p>
          <a:p>
            <a:pPr marL="285750" indent="-285750">
              <a:buFont typeface="Wingdings" panose="05000000000000000000" pitchFamily="2" charset="2"/>
              <a:buChar char="Ø"/>
            </a:pPr>
            <a:r>
              <a:rPr lang="fr-FR" sz="1600" b="1" u="sng" kern="0">
                <a:solidFill>
                  <a:schemeClr val="tx2"/>
                </a:solidFill>
                <a:ea typeface="Geneva"/>
                <a:cs typeface="Arial"/>
              </a:rPr>
              <a:t>Prochaines étapes :</a:t>
            </a:r>
          </a:p>
          <a:p>
            <a:pPr marL="171450" indent="-171450">
              <a:buFontTx/>
              <a:buChar char="-"/>
            </a:pPr>
            <a:endParaRPr lang="fr-FR" sz="1600"/>
          </a:p>
          <a:p>
            <a:pPr marL="171450" indent="-171450">
              <a:buFontTx/>
              <a:buChar char="-"/>
            </a:pPr>
            <a:r>
              <a:rPr lang="fr-FR" sz="1600"/>
              <a:t>Réécriture sur le modèle SI ESMS ?</a:t>
            </a:r>
          </a:p>
        </p:txBody>
      </p:sp>
    </p:spTree>
    <p:extLst>
      <p:ext uri="{BB962C8B-B14F-4D97-AF65-F5344CB8AC3E}">
        <p14:creationId xmlns:p14="http://schemas.microsoft.com/office/powerpoint/2010/main" val="28568979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6BE8F9-9739-B57F-A9DE-82D1C180F49D}"/>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753C4EC-4183-1219-BA3D-386619CA834E}"/>
              </a:ext>
            </a:extLst>
          </p:cNvPr>
          <p:cNvSpPr>
            <a:spLocks noGrp="1"/>
          </p:cNvSpPr>
          <p:nvPr>
            <p:ph type="title"/>
          </p:nvPr>
        </p:nvSpPr>
        <p:spPr/>
        <p:txBody>
          <a:bodyPr>
            <a:normAutofit/>
          </a:bodyPr>
          <a:lstStyle/>
          <a:p>
            <a:r>
              <a:rPr lang="fr-FR" sz="2650"/>
              <a:t>Interopérabilité ViaTrajectoire / SI-ESMS - Contexte projet</a:t>
            </a:r>
            <a:endParaRPr lang="fr-FR"/>
          </a:p>
        </p:txBody>
      </p:sp>
      <p:sp>
        <p:nvSpPr>
          <p:cNvPr id="3" name="Espace réservé du numéro de diapositive 2">
            <a:extLst>
              <a:ext uri="{FF2B5EF4-FFF2-40B4-BE49-F238E27FC236}">
                <a16:creationId xmlns:a16="http://schemas.microsoft.com/office/drawing/2014/main" id="{174BDCCB-8880-D989-9D01-F1BDDC9FD5A1}"/>
              </a:ext>
            </a:extLst>
          </p:cNvPr>
          <p:cNvSpPr>
            <a:spLocks noGrp="1"/>
          </p:cNvSpPr>
          <p:nvPr>
            <p:ph type="sldNum" sz="quarter" idx="12"/>
          </p:nvPr>
        </p:nvSpPr>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7</a:t>
            </a:fld>
            <a:endParaRPr lang="fr-FR"/>
          </a:p>
        </p:txBody>
      </p:sp>
      <p:sp>
        <p:nvSpPr>
          <p:cNvPr id="5" name="TextBox 4">
            <a:extLst>
              <a:ext uri="{FF2B5EF4-FFF2-40B4-BE49-F238E27FC236}">
                <a16:creationId xmlns:a16="http://schemas.microsoft.com/office/drawing/2014/main" id="{28F4B33F-3E7B-BE6D-A7AC-D7C011EC0EE9}"/>
              </a:ext>
            </a:extLst>
          </p:cNvPr>
          <p:cNvSpPr txBox="1"/>
          <p:nvPr/>
        </p:nvSpPr>
        <p:spPr>
          <a:xfrm>
            <a:off x="494020" y="1329587"/>
            <a:ext cx="11203960" cy="1662511"/>
          </a:xfrm>
          <a:prstGeom prst="rect">
            <a:avLst/>
          </a:prstGeom>
          <a:solidFill>
            <a:schemeClr val="bg1">
              <a:lumMod val="95000"/>
            </a:schemeClr>
          </a:solidFill>
        </p:spPr>
        <p:txBody>
          <a:bodyPr wrap="square" lIns="72000" tIns="108000" rIns="72000" bIns="108000" rtlCol="0" anchor="ctr" anchorCtr="0">
            <a:normAutofit/>
          </a:bodyPr>
          <a:lstStyle/>
          <a:p>
            <a:pPr algn="ctr" defTabSz="721766">
              <a:lnSpc>
                <a:spcPct val="120000"/>
              </a:lnSpc>
              <a:spcAft>
                <a:spcPts val="800"/>
              </a:spcAft>
            </a:pPr>
            <a:r>
              <a:rPr lang="fr-FR" altLang="fr-FR" sz="1600" kern="0">
                <a:latin typeface="Arial"/>
                <a:ea typeface="Geneva"/>
                <a:cs typeface="Arial"/>
              </a:rPr>
              <a:t>Le module PH de ViaTrajectoire est déployé à très large échelle (97 départements et 100 MDPH / 11 000 ESMS), ce qui en fait un service critique pour le pilotage des politiques publiques pour les personnes en situation de handicap. </a:t>
            </a:r>
            <a:endParaRPr lang="fr-FR" altLang="fr-FR" sz="1600" kern="0">
              <a:latin typeface="Arial" charset="0"/>
              <a:ea typeface="Geneva" charset="-128"/>
              <a:cs typeface="Arial"/>
            </a:endParaRPr>
          </a:p>
          <a:p>
            <a:pPr algn="ctr" defTabSz="721766">
              <a:lnSpc>
                <a:spcPct val="120000"/>
              </a:lnSpc>
              <a:spcAft>
                <a:spcPts val="800"/>
              </a:spcAft>
            </a:pPr>
            <a:r>
              <a:rPr lang="fr-FR" altLang="fr-FR" sz="1600" kern="0">
                <a:latin typeface="Arial"/>
                <a:ea typeface="Geneva"/>
                <a:cs typeface="Arial"/>
              </a:rPr>
              <a:t>Le </a:t>
            </a:r>
            <a:r>
              <a:rPr lang="fr-FR" altLang="fr-FR" sz="1600" b="1" kern="0">
                <a:latin typeface="Arial"/>
                <a:ea typeface="Geneva"/>
                <a:cs typeface="Arial"/>
              </a:rPr>
              <a:t>déploiement de l’interopérabilité </a:t>
            </a:r>
            <a:r>
              <a:rPr lang="fr-FR" altLang="fr-FR" sz="1600" kern="0">
                <a:latin typeface="Arial"/>
                <a:ea typeface="Geneva"/>
                <a:cs typeface="Arial"/>
              </a:rPr>
              <a:t>avec les SI ESMS et SI MDPH a été identifié comme un </a:t>
            </a:r>
            <a:r>
              <a:rPr lang="fr-FR" altLang="fr-FR" sz="1600" b="1" kern="0">
                <a:latin typeface="Arial"/>
                <a:ea typeface="Geneva"/>
                <a:cs typeface="Arial"/>
              </a:rPr>
              <a:t>levier pour une meilleure qualité des données PH</a:t>
            </a:r>
            <a:r>
              <a:rPr lang="fr-FR" altLang="fr-FR" sz="1600" kern="0">
                <a:latin typeface="Arial"/>
                <a:ea typeface="Geneva"/>
                <a:cs typeface="Arial"/>
              </a:rPr>
              <a:t>. </a:t>
            </a:r>
            <a:endParaRPr lang="fr-FR" sz="1600" kern="0">
              <a:latin typeface="Arial"/>
              <a:ea typeface="Geneva"/>
              <a:cs typeface="Arial"/>
            </a:endParaRPr>
          </a:p>
          <a:p>
            <a:pPr algn="ctr"/>
            <a:endParaRPr lang="fr-FR" sz="300">
              <a:solidFill>
                <a:srgbClr val="575757"/>
              </a:solidFill>
            </a:endParaRPr>
          </a:p>
        </p:txBody>
      </p:sp>
      <p:sp>
        <p:nvSpPr>
          <p:cNvPr id="6" name="ZoneTexte 5">
            <a:extLst>
              <a:ext uri="{FF2B5EF4-FFF2-40B4-BE49-F238E27FC236}">
                <a16:creationId xmlns:a16="http://schemas.microsoft.com/office/drawing/2014/main" id="{A9655446-1AC6-4729-AC62-1BA3F7474AC0}"/>
              </a:ext>
            </a:extLst>
          </p:cNvPr>
          <p:cNvSpPr txBox="1"/>
          <p:nvPr/>
        </p:nvSpPr>
        <p:spPr>
          <a:xfrm>
            <a:off x="5729801" y="3663309"/>
            <a:ext cx="5685451" cy="2388603"/>
          </a:xfrm>
          <a:prstGeom prst="rect">
            <a:avLst/>
          </a:prstGeom>
          <a:noFill/>
        </p:spPr>
        <p:txBody>
          <a:bodyPr wrap="square">
            <a:spAutoFit/>
          </a:bodyPr>
          <a:lstStyle/>
          <a:p>
            <a:pPr defTabSz="721766">
              <a:lnSpc>
                <a:spcPct val="120000"/>
              </a:lnSpc>
              <a:spcAft>
                <a:spcPts val="1200"/>
              </a:spcAft>
            </a:pPr>
            <a:r>
              <a:rPr lang="fr-FR" sz="1800" kern="0">
                <a:latin typeface="Arial"/>
                <a:ea typeface="Geneva"/>
                <a:cs typeface="Arial"/>
              </a:rPr>
              <a:t>L’interopérabilité entre le module PH de ViaTrajectoire et les SI-ESMS (ou DUI) a pour objectif de permettre aux utilisateurs en ESMS de pouvoir </a:t>
            </a:r>
            <a:r>
              <a:rPr lang="fr-FR" sz="1800" b="1" kern="0">
                <a:latin typeface="Arial"/>
                <a:ea typeface="Geneva"/>
                <a:cs typeface="Arial"/>
              </a:rPr>
              <a:t>visualiser, directement depuis le DUI, les nouvelles notifications relatives aux décisions d’orientation qui les concernent</a:t>
            </a:r>
            <a:r>
              <a:rPr lang="fr-FR" sz="1800" kern="0">
                <a:latin typeface="Arial"/>
                <a:ea typeface="Geneva"/>
                <a:cs typeface="Arial"/>
              </a:rPr>
              <a:t>, et de les traiter sans avoir à se connecter au portail ViaTrajectoire.</a:t>
            </a:r>
          </a:p>
        </p:txBody>
      </p:sp>
      <p:sp>
        <p:nvSpPr>
          <p:cNvPr id="8" name="ZoneTexte 7">
            <a:extLst>
              <a:ext uri="{FF2B5EF4-FFF2-40B4-BE49-F238E27FC236}">
                <a16:creationId xmlns:a16="http://schemas.microsoft.com/office/drawing/2014/main" id="{1750F186-8C29-7F8D-9715-119BEE82B7F9}"/>
              </a:ext>
            </a:extLst>
          </p:cNvPr>
          <p:cNvSpPr txBox="1"/>
          <p:nvPr/>
        </p:nvSpPr>
        <p:spPr>
          <a:xfrm>
            <a:off x="526456" y="4395945"/>
            <a:ext cx="4689988" cy="923330"/>
          </a:xfrm>
          <a:prstGeom prst="rect">
            <a:avLst/>
          </a:prstGeom>
          <a:noFill/>
        </p:spPr>
        <p:txBody>
          <a:bodyPr wrap="square">
            <a:spAutoFit/>
          </a:bodyPr>
          <a:lstStyle/>
          <a:p>
            <a:pPr defTabSz="721766">
              <a:spcAft>
                <a:spcPts val="1200"/>
              </a:spcAft>
            </a:pPr>
            <a:r>
              <a:rPr lang="fr-FR" altLang="fr-FR" sz="1800" b="1" kern="0">
                <a:solidFill>
                  <a:schemeClr val="tx2"/>
                </a:solidFill>
                <a:latin typeface="Arial"/>
                <a:ea typeface="Geneva"/>
                <a:cs typeface="Arial"/>
              </a:rPr>
              <a:t>La mise en œuvre de l’interopérabilité entre ViaTrajectoire et SI-ESMS, pour quelles finalités ?</a:t>
            </a:r>
          </a:p>
        </p:txBody>
      </p:sp>
      <p:sp>
        <p:nvSpPr>
          <p:cNvPr id="9" name="Flèche : droite 8">
            <a:extLst>
              <a:ext uri="{FF2B5EF4-FFF2-40B4-BE49-F238E27FC236}">
                <a16:creationId xmlns:a16="http://schemas.microsoft.com/office/drawing/2014/main" id="{C34B6790-9327-3DFA-F0F6-77D3F49939E1}"/>
              </a:ext>
            </a:extLst>
          </p:cNvPr>
          <p:cNvSpPr/>
          <p:nvPr/>
        </p:nvSpPr>
        <p:spPr>
          <a:xfrm>
            <a:off x="5024284" y="4740455"/>
            <a:ext cx="560439" cy="234309"/>
          </a:xfrm>
          <a:prstGeom prst="rightArrow">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Tree>
    <p:extLst>
      <p:ext uri="{BB962C8B-B14F-4D97-AF65-F5344CB8AC3E}">
        <p14:creationId xmlns:p14="http://schemas.microsoft.com/office/powerpoint/2010/main" val="26802122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0408-D490-494E-835C-28E6970106BE}"/>
              </a:ext>
            </a:extLst>
          </p:cNvPr>
          <p:cNvSpPr>
            <a:spLocks noGrp="1"/>
          </p:cNvSpPr>
          <p:nvPr>
            <p:ph type="title"/>
          </p:nvPr>
        </p:nvSpPr>
        <p:spPr/>
        <p:txBody>
          <a:bodyPr/>
          <a:lstStyle/>
          <a:p>
            <a:r>
              <a:rPr lang="fr-FR"/>
              <a:t>Les acteurs impliqués dans le projet</a:t>
            </a:r>
          </a:p>
        </p:txBody>
      </p:sp>
      <p:sp>
        <p:nvSpPr>
          <p:cNvPr id="3" name="Slide Number Placeholder 2">
            <a:extLst>
              <a:ext uri="{FF2B5EF4-FFF2-40B4-BE49-F238E27FC236}">
                <a16:creationId xmlns:a16="http://schemas.microsoft.com/office/drawing/2014/main" id="{B7D283DD-E035-4CDE-86BA-3CC63ECFE683}"/>
              </a:ext>
            </a:extLst>
          </p:cNvPr>
          <p:cNvSpPr>
            <a:spLocks noGrp="1"/>
          </p:cNvSpPr>
          <p:nvPr>
            <p:ph type="sldNum" sz="quarter" idx="12"/>
          </p:nvPr>
        </p:nvSpPr>
        <p:spPr/>
        <p:txBody>
          <a:bodyPr/>
          <a:lstStyle/>
          <a:p>
            <a:fld id="{646E7B68-C406-4B5C-B79D-A1CDE10CB85D}" type="slidenum">
              <a:rPr lang="fr-FR" smtClean="0"/>
              <a:pPr/>
              <a:t>8</a:t>
            </a:fld>
            <a:endParaRPr lang="fr-FR"/>
          </a:p>
        </p:txBody>
      </p:sp>
      <p:sp>
        <p:nvSpPr>
          <p:cNvPr id="13" name="Rectangle 12">
            <a:extLst>
              <a:ext uri="{FF2B5EF4-FFF2-40B4-BE49-F238E27FC236}">
                <a16:creationId xmlns:a16="http://schemas.microsoft.com/office/drawing/2014/main" id="{0C8EAB1D-B184-4944-B865-20964D33BFD1}"/>
              </a:ext>
            </a:extLst>
          </p:cNvPr>
          <p:cNvSpPr/>
          <p:nvPr/>
        </p:nvSpPr>
        <p:spPr>
          <a:xfrm>
            <a:off x="464715" y="1970115"/>
            <a:ext cx="2272498" cy="16041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lvl="1" indent="-171450">
              <a:spcBef>
                <a:spcPts val="300"/>
              </a:spcBef>
              <a:spcAft>
                <a:spcPts val="300"/>
              </a:spcAft>
              <a:buFont typeface="Arial" panose="020B0604020202020204" pitchFamily="34" charset="0"/>
              <a:buChar char="•"/>
              <a:defRPr/>
            </a:pPr>
            <a:endParaRPr lang="fr-FR" sz="1050">
              <a:solidFill>
                <a:prstClr val="black"/>
              </a:solidFill>
              <a:latin typeface="Arial"/>
            </a:endParaRP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Maitrise d’Ouvrage Stratégique sur le domaine métier PH</a:t>
            </a: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Pilote le déploiement de l'interopérabilité entre le SI MDPH et ViaTrajectoire </a:t>
            </a:r>
          </a:p>
        </p:txBody>
      </p:sp>
      <p:pic>
        <p:nvPicPr>
          <p:cNvPr id="33794" name="Picture 2">
            <a:extLst>
              <a:ext uri="{FF2B5EF4-FFF2-40B4-BE49-F238E27FC236}">
                <a16:creationId xmlns:a16="http://schemas.microsoft.com/office/drawing/2014/main" id="{11EE1E38-8ECF-4777-987B-7D1036E2D9D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9092" b="17385"/>
          <a:stretch/>
        </p:blipFill>
        <p:spPr bwMode="auto">
          <a:xfrm>
            <a:off x="1159078" y="1614823"/>
            <a:ext cx="1133475" cy="720008"/>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E7BCFD3A-D42C-4496-B611-CB4C4139AD6A}"/>
              </a:ext>
            </a:extLst>
          </p:cNvPr>
          <p:cNvSpPr/>
          <p:nvPr/>
        </p:nvSpPr>
        <p:spPr>
          <a:xfrm>
            <a:off x="5514159" y="1970114"/>
            <a:ext cx="3693579" cy="18398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prstClr val="black"/>
              </a:solidFill>
              <a:latin typeface="Arial"/>
            </a:endParaRP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Conçoit le cadre d’interopérabilité, et coconstruit avec les éditeurs</a:t>
            </a: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Accompagne les éditeurs dans la démarche d’interfaçage avec VT </a:t>
            </a: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Met à disposition des outils pour faciliter les travaux éditeurs (support Gazelle)</a:t>
            </a:r>
          </a:p>
          <a:p>
            <a:pPr marL="171450" lvl="1" indent="-171450">
              <a:spcBef>
                <a:spcPts val="300"/>
              </a:spcBef>
              <a:spcAft>
                <a:spcPts val="300"/>
              </a:spcAft>
              <a:buFont typeface="Arial" panose="020B0604020202020204" pitchFamily="34" charset="0"/>
              <a:buChar char="•"/>
              <a:defRPr/>
            </a:pPr>
            <a:r>
              <a:rPr lang="fr-FR" sz="1050">
                <a:solidFill>
                  <a:prstClr val="black"/>
                </a:solidFill>
                <a:latin typeface="Arial"/>
              </a:rPr>
              <a:t>Met en œuvre le référencement Ségur</a:t>
            </a:r>
          </a:p>
        </p:txBody>
      </p:sp>
      <p:sp>
        <p:nvSpPr>
          <p:cNvPr id="36" name="Rectangle 35">
            <a:extLst>
              <a:ext uri="{FF2B5EF4-FFF2-40B4-BE49-F238E27FC236}">
                <a16:creationId xmlns:a16="http://schemas.microsoft.com/office/drawing/2014/main" id="{49921E02-17F7-4011-850D-1B3C43481579}"/>
              </a:ext>
            </a:extLst>
          </p:cNvPr>
          <p:cNvSpPr/>
          <p:nvPr/>
        </p:nvSpPr>
        <p:spPr>
          <a:xfrm>
            <a:off x="2984262" y="1970115"/>
            <a:ext cx="2272498" cy="160412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fr-FR" sz="1050">
              <a:solidFill>
                <a:prstClr val="black"/>
              </a:solidFill>
              <a:latin typeface="Arial"/>
            </a:endParaRPr>
          </a:p>
          <a:p>
            <a:pPr marL="213995" indent="-213995">
              <a:spcAft>
                <a:spcPts val="600"/>
              </a:spcAft>
              <a:buFont typeface="Arial" panose="020B0604020202020204" pitchFamily="34" charset="0"/>
              <a:buChar char="•"/>
            </a:pPr>
            <a:r>
              <a:rPr lang="fr-FR" sz="1050">
                <a:solidFill>
                  <a:schemeClr val="tx1"/>
                </a:solidFill>
                <a:ea typeface="+mn-lt"/>
                <a:cs typeface="+mn-lt"/>
              </a:rPr>
              <a:t>Editeur de la solution ViaTrajectoire</a:t>
            </a:r>
          </a:p>
          <a:p>
            <a:pPr marL="213995" indent="-213995">
              <a:spcAft>
                <a:spcPts val="600"/>
              </a:spcAft>
              <a:buFont typeface="Arial" panose="020B0604020202020204" pitchFamily="34" charset="0"/>
              <a:buChar char="•"/>
            </a:pPr>
            <a:r>
              <a:rPr lang="fr-FR" sz="1050">
                <a:solidFill>
                  <a:schemeClr val="tx1"/>
                </a:solidFill>
                <a:ea typeface="+mn-lt"/>
                <a:cs typeface="+mn-lt"/>
              </a:rPr>
              <a:t>Conçoit / développe / teste les évolutions</a:t>
            </a:r>
          </a:p>
          <a:p>
            <a:pPr marL="213995" indent="-213995">
              <a:spcAft>
                <a:spcPts val="600"/>
              </a:spcAft>
              <a:buFont typeface="Arial" panose="020B0604020202020204" pitchFamily="34" charset="0"/>
              <a:buChar char="•"/>
            </a:pPr>
            <a:r>
              <a:rPr lang="fr-FR" sz="1050">
                <a:solidFill>
                  <a:schemeClr val="tx1"/>
                </a:solidFill>
              </a:rPr>
              <a:t>Maintient le service Via Trajectoire</a:t>
            </a:r>
            <a:endParaRPr lang="fr-FR" sz="1050">
              <a:solidFill>
                <a:schemeClr val="tx1"/>
              </a:solidFill>
              <a:cs typeface="Arial"/>
            </a:endParaRPr>
          </a:p>
          <a:p>
            <a:pPr marL="171450" indent="-171450">
              <a:buFont typeface="Arial" panose="020B0604020202020204" pitchFamily="34" charset="0"/>
              <a:buChar char="•"/>
            </a:pPr>
            <a:endParaRPr lang="fr-FR" sz="1050">
              <a:solidFill>
                <a:prstClr val="black"/>
              </a:solidFill>
              <a:latin typeface="Arial"/>
            </a:endParaRPr>
          </a:p>
        </p:txBody>
      </p:sp>
      <p:pic>
        <p:nvPicPr>
          <p:cNvPr id="33798" name="Picture 6">
            <a:extLst>
              <a:ext uri="{FF2B5EF4-FFF2-40B4-BE49-F238E27FC236}">
                <a16:creationId xmlns:a16="http://schemas.microsoft.com/office/drawing/2014/main" id="{968374D3-4F0A-4A2A-95CC-0A793CE9D6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4195" y="1609984"/>
            <a:ext cx="1305986" cy="566821"/>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78C523D4-DF96-4BEE-A276-C9CDFBD4E05E}"/>
              </a:ext>
            </a:extLst>
          </p:cNvPr>
          <p:cNvSpPr/>
          <p:nvPr/>
        </p:nvSpPr>
        <p:spPr>
          <a:xfrm>
            <a:off x="6564086" y="4255971"/>
            <a:ext cx="4588050" cy="18398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prstClr val="black"/>
              </a:solidFill>
              <a:latin typeface="Arial"/>
            </a:endParaRPr>
          </a:p>
          <a:p>
            <a:pPr marL="171450" indent="-171450">
              <a:spcAft>
                <a:spcPts val="600"/>
              </a:spcAft>
              <a:buFont typeface="Arial" panose="020B0604020202020204" pitchFamily="34" charset="0"/>
              <a:buChar char="•"/>
            </a:pPr>
            <a:r>
              <a:rPr lang="fr-FR" sz="1050">
                <a:solidFill>
                  <a:prstClr val="black"/>
                </a:solidFill>
                <a:latin typeface="Arial"/>
              </a:rPr>
              <a:t>Mettent en œuvre les spécifications d’interopérabilité Via Trajectoire PH</a:t>
            </a:r>
          </a:p>
          <a:p>
            <a:pPr marL="171450" indent="-171450">
              <a:spcAft>
                <a:spcPts val="600"/>
              </a:spcAft>
              <a:buFont typeface="Arial" panose="020B0604020202020204" pitchFamily="34" charset="0"/>
              <a:buChar char="•"/>
            </a:pPr>
            <a:r>
              <a:rPr lang="fr-FR" sz="1050">
                <a:solidFill>
                  <a:prstClr val="black"/>
                </a:solidFill>
                <a:latin typeface="Arial"/>
              </a:rPr>
              <a:t>Identifient les potentiels ajustements de leur solution à prévoir</a:t>
            </a:r>
          </a:p>
          <a:p>
            <a:pPr marL="171450" indent="-171450">
              <a:spcAft>
                <a:spcPts val="600"/>
              </a:spcAft>
              <a:buFont typeface="Arial" panose="020B0604020202020204" pitchFamily="34" charset="0"/>
              <a:buChar char="•"/>
            </a:pPr>
            <a:r>
              <a:rPr lang="fr-FR" sz="1050">
                <a:solidFill>
                  <a:prstClr val="black"/>
                </a:solidFill>
                <a:latin typeface="Arial"/>
              </a:rPr>
              <a:t>Réalisent les tests d’intégration</a:t>
            </a:r>
          </a:p>
        </p:txBody>
      </p:sp>
      <p:sp>
        <p:nvSpPr>
          <p:cNvPr id="41" name="Rectangle 40">
            <a:extLst>
              <a:ext uri="{FF2B5EF4-FFF2-40B4-BE49-F238E27FC236}">
                <a16:creationId xmlns:a16="http://schemas.microsoft.com/office/drawing/2014/main" id="{BC81BC7D-6265-40BF-B937-3012F2259E75}"/>
              </a:ext>
            </a:extLst>
          </p:cNvPr>
          <p:cNvSpPr/>
          <p:nvPr/>
        </p:nvSpPr>
        <p:spPr>
          <a:xfrm>
            <a:off x="8358886" y="4106060"/>
            <a:ext cx="1133475" cy="30197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a:t>Éditeurs</a:t>
            </a:r>
          </a:p>
        </p:txBody>
      </p:sp>
      <p:sp>
        <p:nvSpPr>
          <p:cNvPr id="42" name="Rectangle 41">
            <a:extLst>
              <a:ext uri="{FF2B5EF4-FFF2-40B4-BE49-F238E27FC236}">
                <a16:creationId xmlns:a16="http://schemas.microsoft.com/office/drawing/2014/main" id="{6F906DE7-583E-46F2-8882-BDB0379C8797}"/>
              </a:ext>
            </a:extLst>
          </p:cNvPr>
          <p:cNvSpPr/>
          <p:nvPr/>
        </p:nvSpPr>
        <p:spPr>
          <a:xfrm>
            <a:off x="9443366" y="1970114"/>
            <a:ext cx="2283920" cy="18398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fr-FR" sz="1050">
              <a:solidFill>
                <a:prstClr val="black"/>
              </a:solidFill>
              <a:latin typeface="Arial"/>
            </a:endParaRPr>
          </a:p>
          <a:p>
            <a:pPr marL="171450" indent="-171450">
              <a:spcAft>
                <a:spcPts val="600"/>
              </a:spcAft>
              <a:buFont typeface="Arial" panose="020B0604020202020204" pitchFamily="34" charset="0"/>
              <a:buChar char="•"/>
            </a:pPr>
            <a:r>
              <a:rPr lang="fr-FR" sz="1050">
                <a:solidFill>
                  <a:schemeClr val="tx1"/>
                </a:solidFill>
                <a:latin typeface="Arial"/>
              </a:rPr>
              <a:t>Sont responsables du déploiement de la solution ViaTrajectoire dans leur région</a:t>
            </a:r>
          </a:p>
          <a:p>
            <a:pPr marL="171450" indent="-171450">
              <a:spcAft>
                <a:spcPts val="600"/>
              </a:spcAft>
              <a:buFont typeface="Arial" panose="020B0604020202020204" pitchFamily="34" charset="0"/>
              <a:buChar char="•"/>
            </a:pPr>
            <a:r>
              <a:rPr lang="fr-FR" sz="1050">
                <a:solidFill>
                  <a:schemeClr val="tx1"/>
                </a:solidFill>
                <a:latin typeface="Arial"/>
                <a:cs typeface="Arial"/>
              </a:rPr>
              <a:t>Assurent le suivi de la phase pilote, puis du déploiement auprès des établissements de leur région</a:t>
            </a:r>
          </a:p>
        </p:txBody>
      </p:sp>
      <p:pic>
        <p:nvPicPr>
          <p:cNvPr id="4" name="Picture 4">
            <a:extLst>
              <a:ext uri="{FF2B5EF4-FFF2-40B4-BE49-F238E27FC236}">
                <a16:creationId xmlns:a16="http://schemas.microsoft.com/office/drawing/2014/main" id="{60BD147F-FA73-7074-14A9-B8CCFA99D1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04579" y="1798664"/>
            <a:ext cx="1133475" cy="3429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B4697DE-9289-9465-8C9C-BF5A682213BD}"/>
              </a:ext>
            </a:extLst>
          </p:cNvPr>
          <p:cNvSpPr/>
          <p:nvPr/>
        </p:nvSpPr>
        <p:spPr>
          <a:xfrm>
            <a:off x="10018661" y="1798664"/>
            <a:ext cx="1133475" cy="301970"/>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a:t>ARS / GRADES</a:t>
            </a:r>
          </a:p>
        </p:txBody>
      </p:sp>
      <p:sp>
        <p:nvSpPr>
          <p:cNvPr id="6" name="Rectangle 5">
            <a:extLst>
              <a:ext uri="{FF2B5EF4-FFF2-40B4-BE49-F238E27FC236}">
                <a16:creationId xmlns:a16="http://schemas.microsoft.com/office/drawing/2014/main" id="{4A17F791-1D7C-E658-0B2B-601764DCD7F7}"/>
              </a:ext>
            </a:extLst>
          </p:cNvPr>
          <p:cNvSpPr/>
          <p:nvPr/>
        </p:nvSpPr>
        <p:spPr>
          <a:xfrm>
            <a:off x="1415143" y="4255972"/>
            <a:ext cx="4822372" cy="183988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Aft>
                <a:spcPts val="600"/>
              </a:spcAft>
            </a:pPr>
            <a:r>
              <a:rPr lang="fr-FR" sz="1050" u="sng">
                <a:solidFill>
                  <a:schemeClr val="tx1"/>
                </a:solidFill>
                <a:latin typeface="Arial"/>
                <a:cs typeface="Arial"/>
              </a:rPr>
              <a:t>Dans le cadre du pilote :</a:t>
            </a:r>
          </a:p>
          <a:p>
            <a:pPr marL="180000" indent="-171450">
              <a:spcAft>
                <a:spcPts val="600"/>
              </a:spcAft>
              <a:buFont typeface="Arial" panose="020B0604020202020204" pitchFamily="34" charset="0"/>
              <a:buChar char="•"/>
            </a:pPr>
            <a:r>
              <a:rPr lang="fr-FR" sz="1050">
                <a:solidFill>
                  <a:schemeClr val="tx1"/>
                </a:solidFill>
                <a:latin typeface="Arial"/>
              </a:rPr>
              <a:t>Participent aux ateliers de co-construction du parcours utilisateur d’intégration dans Via Trajectoire</a:t>
            </a:r>
            <a:endParaRPr lang="fr-FR" sz="1050">
              <a:solidFill>
                <a:schemeClr val="tx1"/>
              </a:solidFill>
              <a:latin typeface="Arial"/>
              <a:cs typeface="Arial"/>
            </a:endParaRPr>
          </a:p>
          <a:p>
            <a:pPr marL="171450" indent="-171450">
              <a:buFont typeface="Arial" panose="020B0604020202020204" pitchFamily="34" charset="0"/>
              <a:buChar char="•"/>
            </a:pPr>
            <a:r>
              <a:rPr lang="fr-FR" sz="1050">
                <a:solidFill>
                  <a:schemeClr val="tx1"/>
                </a:solidFill>
                <a:latin typeface="Arial"/>
                <a:cs typeface="Arial"/>
              </a:rPr>
              <a:t>Apportent leur expertise métier</a:t>
            </a:r>
          </a:p>
          <a:p>
            <a:pPr marL="171450" indent="-171450">
              <a:buFont typeface="Arial" panose="020B0604020202020204" pitchFamily="34" charset="0"/>
              <a:buChar char="•"/>
            </a:pPr>
            <a:endParaRPr lang="fr-FR" sz="1050">
              <a:solidFill>
                <a:schemeClr val="tx1"/>
              </a:solidFill>
              <a:latin typeface="Arial"/>
              <a:cs typeface="Arial"/>
            </a:endParaRPr>
          </a:p>
          <a:p>
            <a:pPr>
              <a:spcAft>
                <a:spcPts val="600"/>
              </a:spcAft>
            </a:pPr>
            <a:r>
              <a:rPr lang="fr-FR" sz="1050" u="sng">
                <a:solidFill>
                  <a:schemeClr val="tx1"/>
                </a:solidFill>
                <a:latin typeface="Arial"/>
                <a:cs typeface="Arial"/>
              </a:rPr>
              <a:t>Dans la phase de généralisation </a:t>
            </a:r>
            <a:r>
              <a:rPr lang="fr-FR" sz="1050">
                <a:solidFill>
                  <a:schemeClr val="tx1"/>
                </a:solidFill>
                <a:latin typeface="Arial"/>
                <a:cs typeface="Arial"/>
              </a:rPr>
              <a:t>:</a:t>
            </a:r>
          </a:p>
          <a:p>
            <a:pPr marL="171450" indent="-171450">
              <a:buFont typeface="Arial" panose="020B0604020202020204" pitchFamily="34" charset="0"/>
              <a:buChar char="•"/>
            </a:pPr>
            <a:r>
              <a:rPr lang="fr-FR" sz="1050">
                <a:solidFill>
                  <a:schemeClr val="tx1"/>
                </a:solidFill>
                <a:latin typeface="Arial"/>
                <a:cs typeface="Arial"/>
              </a:rPr>
              <a:t>Effectuent les actions préalables au déploiement de l’interopérabilité entre leur solution de DUI et ViaTrajectoire</a:t>
            </a:r>
          </a:p>
        </p:txBody>
      </p:sp>
      <p:sp>
        <p:nvSpPr>
          <p:cNvPr id="7" name="Rectangle 6">
            <a:extLst>
              <a:ext uri="{FF2B5EF4-FFF2-40B4-BE49-F238E27FC236}">
                <a16:creationId xmlns:a16="http://schemas.microsoft.com/office/drawing/2014/main" id="{CAFC7B3E-C308-6384-A10C-05BD9FF833E9}"/>
              </a:ext>
            </a:extLst>
          </p:cNvPr>
          <p:cNvSpPr/>
          <p:nvPr/>
        </p:nvSpPr>
        <p:spPr>
          <a:xfrm>
            <a:off x="3367615" y="4104987"/>
            <a:ext cx="1133475" cy="30197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a:t>ESMS</a:t>
            </a:r>
          </a:p>
        </p:txBody>
      </p:sp>
    </p:spTree>
    <p:extLst>
      <p:ext uri="{BB962C8B-B14F-4D97-AF65-F5344CB8AC3E}">
        <p14:creationId xmlns:p14="http://schemas.microsoft.com/office/powerpoint/2010/main" val="31488973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p:txBody>
          <a:bodyPr>
            <a:normAutofit/>
          </a:bodyPr>
          <a:lstStyle/>
          <a:p>
            <a:r>
              <a:rPr lang="fr-FR"/>
              <a:t>Macro-planning</a:t>
            </a:r>
          </a:p>
        </p:txBody>
      </p:sp>
      <p:sp>
        <p:nvSpPr>
          <p:cNvPr id="2" name="Espace réservé du numéro de diapositive 1"/>
          <p:cNvSpPr>
            <a:spLocks noGrp="1"/>
          </p:cNvSpPr>
          <p:nvPr>
            <p:ph type="sldNum" sz="quarter" idx="12"/>
          </p:nvPr>
        </p:nvSpPr>
        <p:spPr>
          <a:xfrm>
            <a:off x="143339" y="6405570"/>
            <a:ext cx="383117" cy="365125"/>
          </a:xfrm>
        </p:spPr>
        <p:txBody>
          <a:bodyPr/>
          <a:lstStyle/>
          <a:p>
            <a:pPr defTabSz="1219170" fontAlgn="base">
              <a:spcBef>
                <a:spcPct val="0"/>
              </a:spcBef>
              <a:spcAft>
                <a:spcPct val="0"/>
              </a:spcAft>
            </a:pPr>
            <a:fld id="{646E7B68-C406-4B5C-B79D-A1CDE10CB85D}" type="slidenum">
              <a:rPr lang="fr-FR"/>
              <a:pPr defTabSz="1219170" fontAlgn="base">
                <a:spcBef>
                  <a:spcPct val="0"/>
                </a:spcBef>
                <a:spcAft>
                  <a:spcPct val="0"/>
                </a:spcAft>
              </a:pPr>
              <a:t>9</a:t>
            </a:fld>
            <a:endParaRPr lang="fr-FR"/>
          </a:p>
        </p:txBody>
      </p:sp>
      <p:graphicFrame>
        <p:nvGraphicFramePr>
          <p:cNvPr id="105" name="Table 104">
            <a:extLst>
              <a:ext uri="{FF2B5EF4-FFF2-40B4-BE49-F238E27FC236}">
                <a16:creationId xmlns:a16="http://schemas.microsoft.com/office/drawing/2014/main" id="{FF44D718-8108-4069-96A0-A004A94BDAAB}"/>
              </a:ext>
            </a:extLst>
          </p:cNvPr>
          <p:cNvGraphicFramePr>
            <a:graphicFrameLocks noGrp="1"/>
          </p:cNvGraphicFramePr>
          <p:nvPr>
            <p:extLst>
              <p:ext uri="{D42A27DB-BD31-4B8C-83A1-F6EECF244321}">
                <p14:modId xmlns:p14="http://schemas.microsoft.com/office/powerpoint/2010/main" val="231743711"/>
              </p:ext>
            </p:extLst>
          </p:nvPr>
        </p:nvGraphicFramePr>
        <p:xfrm>
          <a:off x="1604289" y="1227956"/>
          <a:ext cx="10187320" cy="4684967"/>
        </p:xfrm>
        <a:graphic>
          <a:graphicData uri="http://schemas.openxmlformats.org/drawingml/2006/table">
            <a:tbl>
              <a:tblPr firstRow="1" bandRow="1"/>
              <a:tblGrid>
                <a:gridCol w="1018732">
                  <a:extLst>
                    <a:ext uri="{9D8B030D-6E8A-4147-A177-3AD203B41FA5}">
                      <a16:colId xmlns:a16="http://schemas.microsoft.com/office/drawing/2014/main" val="1431525377"/>
                    </a:ext>
                  </a:extLst>
                </a:gridCol>
                <a:gridCol w="1018732">
                  <a:extLst>
                    <a:ext uri="{9D8B030D-6E8A-4147-A177-3AD203B41FA5}">
                      <a16:colId xmlns:a16="http://schemas.microsoft.com/office/drawing/2014/main" val="4217490814"/>
                    </a:ext>
                  </a:extLst>
                </a:gridCol>
                <a:gridCol w="1018732">
                  <a:extLst>
                    <a:ext uri="{9D8B030D-6E8A-4147-A177-3AD203B41FA5}">
                      <a16:colId xmlns:a16="http://schemas.microsoft.com/office/drawing/2014/main" val="4207395677"/>
                    </a:ext>
                  </a:extLst>
                </a:gridCol>
                <a:gridCol w="1018732">
                  <a:extLst>
                    <a:ext uri="{9D8B030D-6E8A-4147-A177-3AD203B41FA5}">
                      <a16:colId xmlns:a16="http://schemas.microsoft.com/office/drawing/2014/main" val="3878518994"/>
                    </a:ext>
                  </a:extLst>
                </a:gridCol>
                <a:gridCol w="1018732">
                  <a:extLst>
                    <a:ext uri="{9D8B030D-6E8A-4147-A177-3AD203B41FA5}">
                      <a16:colId xmlns:a16="http://schemas.microsoft.com/office/drawing/2014/main" val="3926105344"/>
                    </a:ext>
                  </a:extLst>
                </a:gridCol>
                <a:gridCol w="1018732">
                  <a:extLst>
                    <a:ext uri="{9D8B030D-6E8A-4147-A177-3AD203B41FA5}">
                      <a16:colId xmlns:a16="http://schemas.microsoft.com/office/drawing/2014/main" val="1483787874"/>
                    </a:ext>
                  </a:extLst>
                </a:gridCol>
                <a:gridCol w="1018732">
                  <a:extLst>
                    <a:ext uri="{9D8B030D-6E8A-4147-A177-3AD203B41FA5}">
                      <a16:colId xmlns:a16="http://schemas.microsoft.com/office/drawing/2014/main" val="2507373567"/>
                    </a:ext>
                  </a:extLst>
                </a:gridCol>
                <a:gridCol w="1018732">
                  <a:extLst>
                    <a:ext uri="{9D8B030D-6E8A-4147-A177-3AD203B41FA5}">
                      <a16:colId xmlns:a16="http://schemas.microsoft.com/office/drawing/2014/main" val="3089096535"/>
                    </a:ext>
                  </a:extLst>
                </a:gridCol>
                <a:gridCol w="1018732">
                  <a:extLst>
                    <a:ext uri="{9D8B030D-6E8A-4147-A177-3AD203B41FA5}">
                      <a16:colId xmlns:a16="http://schemas.microsoft.com/office/drawing/2014/main" val="2037376037"/>
                    </a:ext>
                  </a:extLst>
                </a:gridCol>
                <a:gridCol w="1018732">
                  <a:extLst>
                    <a:ext uri="{9D8B030D-6E8A-4147-A177-3AD203B41FA5}">
                      <a16:colId xmlns:a16="http://schemas.microsoft.com/office/drawing/2014/main" val="1204924159"/>
                    </a:ext>
                  </a:extLst>
                </a:gridCol>
              </a:tblGrid>
              <a:tr h="274344">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2023</a:t>
                      </a:r>
                    </a:p>
                  </a:txBody>
                  <a:tcPr marT="0" marB="0" anchor="ctr">
                    <a:lnL w="12700" cmpd="sng">
                      <a:noFill/>
                      <a:prstDash val="soli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2024</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2025</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2026</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249014849"/>
                  </a:ext>
                </a:extLst>
              </a:tr>
              <a:tr h="2743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1</a:t>
                      </a:r>
                    </a:p>
                  </a:txBody>
                  <a:tcPr marT="0" marB="0" anchor="ctr">
                    <a:lnL w="12700" cmpd="sng">
                      <a:noFill/>
                      <a:prstDash val="soli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2</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3</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4</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1</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2</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3</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1200">
                          <a:solidFill>
                            <a:schemeClr val="tx1"/>
                          </a:solidFill>
                          <a:latin typeface="Calibri"/>
                          <a:ea typeface="+mn-ea"/>
                          <a:cs typeface="Calibri"/>
                        </a:rPr>
                        <a:t>T4</a:t>
                      </a: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1" kern="1200">
                        <a:solidFill>
                          <a:schemeClr val="tx1"/>
                        </a:solidFill>
                        <a:latin typeface="Calibri"/>
                        <a:ea typeface="+mn-ea"/>
                        <a:cs typeface="Calibri"/>
                      </a:endParaRPr>
                    </a:p>
                  </a:txBody>
                  <a:tcPr marT="0" marB="0" anchor="ctr">
                    <a:lnL w="12700" cap="flat" cmpd="sng" algn="ctr">
                      <a:solidFill>
                        <a:sysClr val="window" lastClr="FFFFFF">
                          <a:lumMod val="95000"/>
                        </a:sysClr>
                      </a:solidFill>
                      <a:prstDash val="solid"/>
                      <a:round/>
                      <a:headEnd type="none" w="med" len="med"/>
                      <a:tailEnd type="none" w="med" len="med"/>
                    </a:lnL>
                    <a:lnR w="12700" cap="flat" cmpd="sng" algn="ctr">
                      <a:solidFill>
                        <a:sysClr val="window" lastClr="FFFFFF">
                          <a:lumMod val="95000"/>
                        </a:sysClr>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1512217002"/>
                  </a:ext>
                </a:extLst>
              </a:tr>
              <a:tr h="413627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900" b="1" kern="1200">
                        <a:solidFill>
                          <a:schemeClr val="tx1"/>
                        </a:solidFill>
                        <a:latin typeface="Calibri" panose="020F0502020204030204" pitchFamily="34" charset="0"/>
                        <a:ea typeface="+mn-ea"/>
                        <a:cs typeface="Calibri" panose="020F0502020204030204" pitchFamily="34" charset="0"/>
                      </a:endParaRPr>
                    </a:p>
                  </a:txBody>
                  <a:tcPr marT="0" marB="0" anchor="ctr">
                    <a:lnL w="6350" cap="flat" cmpd="sng" algn="ctr">
                      <a:solidFill>
                        <a:srgbClr val="C7C0BA"/>
                      </a:solidFill>
                      <a:prstDash val="solid"/>
                      <a:round/>
                      <a:headEnd type="none" w="med" len="med"/>
                      <a:tailEnd type="none" w="med" len="med"/>
                    </a:lnL>
                    <a:lnR w="6350" cap="flat" cmpd="sng" algn="ctr">
                      <a:solidFill>
                        <a:srgbClr val="C7C0BA"/>
                      </a:solidFill>
                      <a:prstDash val="solid"/>
                      <a:round/>
                      <a:headEnd type="none" w="med" len="med"/>
                      <a:tailEnd type="none" w="med" len="med"/>
                    </a:lnR>
                    <a:lnT w="12700" cap="flat" cmpd="sng" algn="ctr">
                      <a:solidFill>
                        <a:sysClr val="window" lastClr="FFFFFF">
                          <a:lumMod val="95000"/>
                        </a:sysClr>
                      </a:solidFill>
                      <a:prstDash val="solid"/>
                      <a:round/>
                      <a:headEnd type="none" w="med" len="med"/>
                      <a:tailEnd type="none" w="med" len="med"/>
                    </a:lnT>
                    <a:lnB w="6350" cap="flat" cmpd="sng" algn="ctr">
                      <a:solidFill>
                        <a:srgbClr val="C7C0BA"/>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41236172"/>
                  </a:ext>
                </a:extLst>
              </a:tr>
            </a:tbl>
          </a:graphicData>
        </a:graphic>
      </p:graphicFrame>
      <p:sp>
        <p:nvSpPr>
          <p:cNvPr id="39" name="Rectangle 38">
            <a:extLst>
              <a:ext uri="{FF2B5EF4-FFF2-40B4-BE49-F238E27FC236}">
                <a16:creationId xmlns:a16="http://schemas.microsoft.com/office/drawing/2014/main" id="{3E050A1C-DEE2-4D6A-9BD3-9AF045350B6E}"/>
              </a:ext>
            </a:extLst>
          </p:cNvPr>
          <p:cNvSpPr/>
          <p:nvPr/>
        </p:nvSpPr>
        <p:spPr>
          <a:xfrm>
            <a:off x="68500" y="4184764"/>
            <a:ext cx="1535789" cy="1728159"/>
          </a:xfrm>
          <a:prstGeom prst="rect">
            <a:avLst/>
          </a:prstGeom>
          <a:solidFill>
            <a:schemeClr val="tx2"/>
          </a:solidFill>
        </p:spPr>
        <p:txBody>
          <a:bodyPr vert="horz" lIns="96000" tIns="101600" rIns="48000" bIns="101600" rtlCol="0" anchor="ctr">
            <a:noAutofit/>
          </a:bodyPr>
          <a:lstStyle/>
          <a:p>
            <a:pPr algn="ctr" defTabSz="1193711" fontAlgn="base">
              <a:spcBef>
                <a:spcPct val="0"/>
              </a:spcBef>
              <a:spcAft>
                <a:spcPct val="0"/>
              </a:spcAft>
              <a:buClr>
                <a:srgbClr val="6C6C6C"/>
              </a:buClr>
              <a:buSzPct val="100000"/>
            </a:pPr>
            <a:r>
              <a:rPr lang="fr-FR" sz="1200" b="1" kern="0">
                <a:solidFill>
                  <a:srgbClr val="FFFFFF"/>
                </a:solidFill>
                <a:latin typeface="Arial" panose="020B0604020202020204" pitchFamily="34" charset="0"/>
                <a:ea typeface="Geneva" charset="-128"/>
                <a:cs typeface="Arial" panose="020B0604020202020204" pitchFamily="34" charset="0"/>
              </a:rPr>
              <a:t>Généralisation de l’accompagnement</a:t>
            </a:r>
          </a:p>
        </p:txBody>
      </p:sp>
      <p:sp>
        <p:nvSpPr>
          <p:cNvPr id="45" name="Étoile : 5 branches 6">
            <a:extLst>
              <a:ext uri="{FF2B5EF4-FFF2-40B4-BE49-F238E27FC236}">
                <a16:creationId xmlns:a16="http://schemas.microsoft.com/office/drawing/2014/main" id="{182DE3A2-5200-45B2-BDAE-6EF4DBB298AB}"/>
              </a:ext>
            </a:extLst>
          </p:cNvPr>
          <p:cNvSpPr/>
          <p:nvPr/>
        </p:nvSpPr>
        <p:spPr>
          <a:xfrm>
            <a:off x="1777032" y="1818198"/>
            <a:ext cx="144000" cy="144000"/>
          </a:xfrm>
          <a:prstGeom prst="star5">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fr-FR" sz="2400">
              <a:solidFill>
                <a:prstClr val="white"/>
              </a:solidFill>
              <a:latin typeface="Arial" panose="020B0604020202020204" pitchFamily="34" charset="0"/>
              <a:cs typeface="Arial" panose="020B0604020202020204" pitchFamily="34" charset="0"/>
            </a:endParaRPr>
          </a:p>
        </p:txBody>
      </p:sp>
      <p:sp>
        <p:nvSpPr>
          <p:cNvPr id="78" name="AutoShape 4">
            <a:extLst>
              <a:ext uri="{FF2B5EF4-FFF2-40B4-BE49-F238E27FC236}">
                <a16:creationId xmlns:a16="http://schemas.microsoft.com/office/drawing/2014/main" id="{24F87522-E40D-44E0-8CBB-B7D4C4428F94}"/>
              </a:ext>
            </a:extLst>
          </p:cNvPr>
          <p:cNvSpPr>
            <a:spLocks noChangeArrowheads="1"/>
          </p:cNvSpPr>
          <p:nvPr/>
        </p:nvSpPr>
        <p:spPr bwMode="auto">
          <a:xfrm>
            <a:off x="2111073" y="2027238"/>
            <a:ext cx="2392102" cy="231713"/>
          </a:xfrm>
          <a:prstGeom prst="homePlate">
            <a:avLst>
              <a:gd name="adj" fmla="val 28952"/>
            </a:avLst>
          </a:prstGeom>
          <a:solidFill>
            <a:schemeClr val="accent5">
              <a:lumMod val="75000"/>
            </a:schemeClr>
          </a:solidFill>
          <a:ln w="12700" cmpd="sng">
            <a:solidFill>
              <a:schemeClr val="accent5">
                <a:lumMod val="75000"/>
              </a:schemeClr>
            </a:solidFill>
            <a:miter lim="800000"/>
            <a:headEnd/>
            <a:tailEnd/>
          </a:ln>
        </p:spPr>
        <p:txBody>
          <a:bodyPr lIns="72000" tIns="72000" rIns="72000" bIns="72000" anchor="ctr"/>
          <a:lstStyle/>
          <a:p>
            <a:pPr algn="ctr" defTabSz="914286" eaLnBrk="0" fontAlgn="base" hangingPunct="0">
              <a:lnSpc>
                <a:spcPct val="80000"/>
              </a:lnSpc>
              <a:spcBef>
                <a:spcPct val="0"/>
              </a:spcBef>
              <a:spcAft>
                <a:spcPct val="0"/>
              </a:spcAft>
            </a:pPr>
            <a:r>
              <a:rPr lang="fr-FR" sz="1000" kern="0">
                <a:solidFill>
                  <a:schemeClr val="bg1"/>
                </a:solidFill>
                <a:latin typeface="Arial" panose="020B0604020202020204" pitchFamily="34" charset="0"/>
                <a:ea typeface="Geneva" charset="-128"/>
                <a:cs typeface="Arial" panose="020B0604020202020204" pitchFamily="34" charset="0"/>
              </a:rPr>
              <a:t>Conception du parcours utilisateurs </a:t>
            </a:r>
            <a:endParaRPr lang="en-US" sz="1000" kern="0">
              <a:solidFill>
                <a:schemeClr val="bg1"/>
              </a:solidFill>
              <a:latin typeface="Arial" panose="020B0604020202020204" pitchFamily="34" charset="0"/>
              <a:ea typeface="Geneva" charset="-128"/>
              <a:cs typeface="Arial" panose="020B0604020202020204" pitchFamily="34" charset="0"/>
            </a:endParaRPr>
          </a:p>
        </p:txBody>
      </p:sp>
      <p:sp>
        <p:nvSpPr>
          <p:cNvPr id="3" name="TextBox 14">
            <a:extLst>
              <a:ext uri="{FF2B5EF4-FFF2-40B4-BE49-F238E27FC236}">
                <a16:creationId xmlns:a16="http://schemas.microsoft.com/office/drawing/2014/main" id="{4F9F265A-07E2-5F71-101C-1D89C83B847B}"/>
              </a:ext>
            </a:extLst>
          </p:cNvPr>
          <p:cNvSpPr txBox="1"/>
          <p:nvPr/>
        </p:nvSpPr>
        <p:spPr>
          <a:xfrm>
            <a:off x="1921032" y="1764017"/>
            <a:ext cx="1230290" cy="287034"/>
          </a:xfrm>
          <a:prstGeom prst="rect">
            <a:avLst/>
          </a:prstGeom>
          <a:noFill/>
        </p:spPr>
        <p:txBody>
          <a:bodyPr wrap="square" lIns="72000" tIns="108000" rIns="72000" bIns="108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000" kern="0">
                <a:solidFill>
                  <a:schemeClr val="tx1"/>
                </a:solidFill>
                <a:latin typeface="Arial" panose="020B0604020202020204" pitchFamily="34" charset="0"/>
                <a:ea typeface="Geneva" charset="-128"/>
                <a:cs typeface="Arial" panose="020B0604020202020204" pitchFamily="34" charset="0"/>
              </a:rPr>
              <a:t>Lancement pilote</a:t>
            </a:r>
            <a:endParaRPr lang="en-US" sz="1000" kern="0">
              <a:solidFill>
                <a:schemeClr val="tx1"/>
              </a:solidFill>
              <a:latin typeface="Arial" panose="020B0604020202020204" pitchFamily="34" charset="0"/>
              <a:ea typeface="Geneva" charset="-128"/>
              <a:cs typeface="Arial" panose="020B0604020202020204" pitchFamily="34" charset="0"/>
            </a:endParaRPr>
          </a:p>
        </p:txBody>
      </p:sp>
      <p:sp>
        <p:nvSpPr>
          <p:cNvPr id="9" name="Étoile : 5 branches 6">
            <a:extLst>
              <a:ext uri="{FF2B5EF4-FFF2-40B4-BE49-F238E27FC236}">
                <a16:creationId xmlns:a16="http://schemas.microsoft.com/office/drawing/2014/main" id="{7EEAE61B-AA5F-84BC-078A-027675E03ED6}"/>
              </a:ext>
            </a:extLst>
          </p:cNvPr>
          <p:cNvSpPr/>
          <p:nvPr/>
        </p:nvSpPr>
        <p:spPr>
          <a:xfrm>
            <a:off x="4891290" y="2911461"/>
            <a:ext cx="144000" cy="144000"/>
          </a:xfrm>
          <a:prstGeom prst="star5">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fr-FR" sz="2400">
              <a:solidFill>
                <a:prstClr val="white"/>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7766583-644A-C290-70CA-BF7D497AB113}"/>
              </a:ext>
            </a:extLst>
          </p:cNvPr>
          <p:cNvSpPr txBox="1"/>
          <p:nvPr/>
        </p:nvSpPr>
        <p:spPr>
          <a:xfrm>
            <a:off x="5035290" y="2755434"/>
            <a:ext cx="2391027" cy="765221"/>
          </a:xfrm>
          <a:prstGeom prst="rect">
            <a:avLst/>
          </a:prstGeom>
          <a:noFill/>
        </p:spPr>
        <p:txBody>
          <a:bodyPr wrap="square" lIns="72000" tIns="108000" rIns="72000" bIns="108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000" kern="0" err="1">
                <a:solidFill>
                  <a:schemeClr val="tx1"/>
                </a:solidFill>
                <a:latin typeface="Arial" panose="020B0604020202020204" pitchFamily="34" charset="0"/>
                <a:ea typeface="Geneva" charset="-128"/>
                <a:cs typeface="Arial" panose="020B0604020202020204" pitchFamily="34" charset="0"/>
              </a:rPr>
              <a:t>Projectathon</a:t>
            </a:r>
            <a:r>
              <a:rPr lang="fr-FR" sz="1000" kern="0">
                <a:solidFill>
                  <a:schemeClr val="tx1"/>
                </a:solidFill>
                <a:latin typeface="Arial" panose="020B0604020202020204" pitchFamily="34" charset="0"/>
                <a:ea typeface="Geneva" charset="-128"/>
                <a:cs typeface="Arial" panose="020B0604020202020204" pitchFamily="34" charset="0"/>
              </a:rPr>
              <a:t> : 27-29 septembre (semaine européenne de la e-santé à Rennes)</a:t>
            </a:r>
            <a:endParaRPr lang="en-US" sz="1000" kern="0">
              <a:solidFill>
                <a:schemeClr val="tx1"/>
              </a:solidFill>
              <a:latin typeface="Arial" panose="020B0604020202020204" pitchFamily="34" charset="0"/>
              <a:ea typeface="Geneva" charset="-128"/>
              <a:cs typeface="Arial" panose="020B0604020202020204" pitchFamily="34" charset="0"/>
            </a:endParaRPr>
          </a:p>
        </p:txBody>
      </p:sp>
      <p:sp>
        <p:nvSpPr>
          <p:cNvPr id="14" name="Rectangle 13">
            <a:extLst>
              <a:ext uri="{FF2B5EF4-FFF2-40B4-BE49-F238E27FC236}">
                <a16:creationId xmlns:a16="http://schemas.microsoft.com/office/drawing/2014/main" id="{8B244FA8-B579-A47E-6806-AB6322B2154F}"/>
              </a:ext>
            </a:extLst>
          </p:cNvPr>
          <p:cNvSpPr/>
          <p:nvPr/>
        </p:nvSpPr>
        <p:spPr>
          <a:xfrm>
            <a:off x="68500" y="1752086"/>
            <a:ext cx="1535789" cy="243267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chemeClr val="lt1"/>
                </a:solidFill>
              </a:rPr>
              <a:t>Pilote</a:t>
            </a:r>
          </a:p>
        </p:txBody>
      </p:sp>
      <p:sp>
        <p:nvSpPr>
          <p:cNvPr id="17" name="AutoShape 4">
            <a:extLst>
              <a:ext uri="{FF2B5EF4-FFF2-40B4-BE49-F238E27FC236}">
                <a16:creationId xmlns:a16="http://schemas.microsoft.com/office/drawing/2014/main" id="{28AFF481-8433-1E43-6A2B-C9F2B1BEEC76}"/>
              </a:ext>
            </a:extLst>
          </p:cNvPr>
          <p:cNvSpPr>
            <a:spLocks noChangeArrowheads="1"/>
          </p:cNvSpPr>
          <p:nvPr/>
        </p:nvSpPr>
        <p:spPr bwMode="auto">
          <a:xfrm>
            <a:off x="5749381" y="4181550"/>
            <a:ext cx="926722" cy="338214"/>
          </a:xfrm>
          <a:prstGeom prst="homePlate">
            <a:avLst>
              <a:gd name="adj" fmla="val 28952"/>
            </a:avLst>
          </a:prstGeom>
          <a:solidFill>
            <a:schemeClr val="tx2"/>
          </a:solidFill>
          <a:ln w="12700" cmpd="sng">
            <a:noFill/>
            <a:miter lim="800000"/>
            <a:headEnd/>
            <a:tailEnd/>
          </a:ln>
        </p:spPr>
        <p:txBody>
          <a:bodyPr lIns="0" tIns="72000" rIns="0" bIns="72000" anchor="ctr"/>
          <a:lstStyle/>
          <a:p>
            <a:pPr algn="ctr" defTabSz="914286" eaLnBrk="0" fontAlgn="base" hangingPunct="0">
              <a:lnSpc>
                <a:spcPct val="80000"/>
              </a:lnSpc>
              <a:spcBef>
                <a:spcPct val="0"/>
              </a:spcBef>
              <a:spcAft>
                <a:spcPct val="0"/>
              </a:spcAft>
            </a:pPr>
            <a:r>
              <a:rPr lang="fr-FR" sz="1000" kern="0">
                <a:solidFill>
                  <a:schemeClr val="bg1"/>
                </a:solidFill>
                <a:latin typeface="Arial" panose="020B0604020202020204" pitchFamily="34" charset="0"/>
                <a:ea typeface="Geneva" charset="-128"/>
                <a:cs typeface="Arial" panose="020B0604020202020204" pitchFamily="34" charset="0"/>
              </a:rPr>
              <a:t>REX pilote intermédiaire </a:t>
            </a:r>
            <a:endParaRPr lang="en-US" sz="1000" kern="0">
              <a:solidFill>
                <a:schemeClr val="bg1"/>
              </a:solidFill>
              <a:latin typeface="Arial" panose="020B0604020202020204" pitchFamily="34" charset="0"/>
              <a:ea typeface="Geneva" charset="-128"/>
              <a:cs typeface="Arial" panose="020B0604020202020204" pitchFamily="34" charset="0"/>
            </a:endParaRPr>
          </a:p>
        </p:txBody>
      </p:sp>
      <p:sp>
        <p:nvSpPr>
          <p:cNvPr id="19" name="Étoile : 5 branches 6">
            <a:extLst>
              <a:ext uri="{FF2B5EF4-FFF2-40B4-BE49-F238E27FC236}">
                <a16:creationId xmlns:a16="http://schemas.microsoft.com/office/drawing/2014/main" id="{2E275ED2-9A6A-CF4C-4483-AC1EF4941806}"/>
              </a:ext>
            </a:extLst>
          </p:cNvPr>
          <p:cNvSpPr/>
          <p:nvPr/>
        </p:nvSpPr>
        <p:spPr>
          <a:xfrm>
            <a:off x="7798857" y="2091673"/>
            <a:ext cx="144000" cy="144000"/>
          </a:xfrm>
          <a:prstGeom prst="star5">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fr-FR" sz="2400">
              <a:solidFill>
                <a:prstClr val="white"/>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19AD2FAE-87DA-FAE8-D9D9-14E0D918B33F}"/>
              </a:ext>
            </a:extLst>
          </p:cNvPr>
          <p:cNvSpPr txBox="1"/>
          <p:nvPr/>
        </p:nvSpPr>
        <p:spPr>
          <a:xfrm>
            <a:off x="7942857" y="1972322"/>
            <a:ext cx="1378717" cy="478545"/>
          </a:xfrm>
          <a:prstGeom prst="rect">
            <a:avLst/>
          </a:prstGeom>
          <a:noFill/>
        </p:spPr>
        <p:txBody>
          <a:bodyPr wrap="square" lIns="72000" tIns="108000" rIns="72000" bIns="108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000" kern="0">
                <a:solidFill>
                  <a:schemeClr val="tx1"/>
                </a:solidFill>
                <a:latin typeface="Arial" panose="020B0604020202020204" pitchFamily="34" charset="0"/>
                <a:ea typeface="Geneva" charset="-128"/>
                <a:cs typeface="Arial" panose="020B0604020202020204" pitchFamily="34" charset="0"/>
              </a:rPr>
              <a:t>Objectif de 1ers tests de bout-en-bout</a:t>
            </a:r>
            <a:endParaRPr lang="en-US" sz="1000" kern="0">
              <a:solidFill>
                <a:schemeClr val="tx1"/>
              </a:solidFill>
              <a:latin typeface="Arial" panose="020B0604020202020204" pitchFamily="34" charset="0"/>
              <a:ea typeface="Geneva" charset="-128"/>
              <a:cs typeface="Arial" panose="020B0604020202020204" pitchFamily="34" charset="0"/>
            </a:endParaRPr>
          </a:p>
        </p:txBody>
      </p:sp>
      <p:sp>
        <p:nvSpPr>
          <p:cNvPr id="30" name="TextBox 29">
            <a:extLst>
              <a:ext uri="{FF2B5EF4-FFF2-40B4-BE49-F238E27FC236}">
                <a16:creationId xmlns:a16="http://schemas.microsoft.com/office/drawing/2014/main" id="{1CD7FB5C-D7E1-7246-F0C3-2683BFF53F42}"/>
              </a:ext>
            </a:extLst>
          </p:cNvPr>
          <p:cNvSpPr txBox="1"/>
          <p:nvPr/>
        </p:nvSpPr>
        <p:spPr>
          <a:xfrm>
            <a:off x="4750167" y="1927050"/>
            <a:ext cx="943943" cy="478545"/>
          </a:xfrm>
          <a:prstGeom prst="rect">
            <a:avLst/>
          </a:prstGeom>
          <a:noFill/>
        </p:spPr>
        <p:txBody>
          <a:bodyPr wrap="square" lIns="72000" tIns="108000" rIns="72000" bIns="108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sz="1000" kern="0">
                <a:solidFill>
                  <a:schemeClr val="tx1"/>
                </a:solidFill>
                <a:latin typeface="Arial" panose="020B0604020202020204" pitchFamily="34" charset="0"/>
                <a:ea typeface="Geneva" charset="-128"/>
                <a:cs typeface="Arial" panose="020B0604020202020204" pitchFamily="34" charset="0"/>
              </a:rPr>
              <a:t>Guide d’implémentation VF</a:t>
            </a:r>
            <a:endParaRPr lang="en-US" sz="1000" kern="0">
              <a:solidFill>
                <a:schemeClr val="tx1"/>
              </a:solidFill>
              <a:latin typeface="Arial" panose="020B0604020202020204" pitchFamily="34" charset="0"/>
              <a:ea typeface="Geneva" charset="-128"/>
              <a:cs typeface="Arial" panose="020B0604020202020204" pitchFamily="34" charset="0"/>
            </a:endParaRPr>
          </a:p>
        </p:txBody>
      </p:sp>
      <p:sp>
        <p:nvSpPr>
          <p:cNvPr id="6" name="AutoShape 4">
            <a:extLst>
              <a:ext uri="{FF2B5EF4-FFF2-40B4-BE49-F238E27FC236}">
                <a16:creationId xmlns:a16="http://schemas.microsoft.com/office/drawing/2014/main" id="{CA5AB0C8-2B6A-9097-1375-892A50421B03}"/>
              </a:ext>
            </a:extLst>
          </p:cNvPr>
          <p:cNvSpPr>
            <a:spLocks noChangeArrowheads="1"/>
          </p:cNvSpPr>
          <p:nvPr/>
        </p:nvSpPr>
        <p:spPr bwMode="auto">
          <a:xfrm>
            <a:off x="6648601" y="4555847"/>
            <a:ext cx="1088852" cy="366514"/>
          </a:xfrm>
          <a:prstGeom prst="homePlate">
            <a:avLst>
              <a:gd name="adj" fmla="val 28952"/>
            </a:avLst>
          </a:prstGeom>
          <a:solidFill>
            <a:schemeClr val="tx2"/>
          </a:solidFill>
          <a:ln>
            <a:noFill/>
          </a:ln>
        </p:spPr>
        <p:txBody>
          <a:bodyPr vert="horz" lIns="96000" tIns="101600" rIns="48000" bIns="101600" rtlCol="0" anchor="ctr">
            <a:noAutofit/>
          </a:bodyPr>
          <a:lstStyle/>
          <a:p>
            <a:pPr algn="ctr" defTabSz="1193711" fontAlgn="base">
              <a:spcBef>
                <a:spcPct val="0"/>
              </a:spcBef>
              <a:spcAft>
                <a:spcPct val="0"/>
              </a:spcAft>
              <a:buClr>
                <a:srgbClr val="6C6C6C"/>
              </a:buClr>
              <a:buSzPct val="100000"/>
            </a:pPr>
            <a:r>
              <a:rPr lang="fr-FR" sz="1000" kern="0">
                <a:solidFill>
                  <a:srgbClr val="FFFFFF"/>
                </a:solidFill>
                <a:latin typeface="Arial" panose="020B0604020202020204" pitchFamily="34" charset="0"/>
                <a:ea typeface="Geneva" charset="-128"/>
                <a:cs typeface="Arial" panose="020B0604020202020204" pitchFamily="34" charset="0"/>
              </a:rPr>
              <a:t>Préparation généralisation </a:t>
            </a:r>
            <a:endParaRPr lang="en-US" sz="1000" kern="0">
              <a:solidFill>
                <a:srgbClr val="FFFFFF"/>
              </a:solidFill>
              <a:latin typeface="Arial" panose="020B0604020202020204" pitchFamily="34" charset="0"/>
              <a:ea typeface="Geneva" charset="-128"/>
              <a:cs typeface="Arial" panose="020B0604020202020204" pitchFamily="34" charset="0"/>
            </a:endParaRPr>
          </a:p>
        </p:txBody>
      </p:sp>
      <p:sp>
        <p:nvSpPr>
          <p:cNvPr id="4" name="Étoile : 5 branches 6">
            <a:extLst>
              <a:ext uri="{FF2B5EF4-FFF2-40B4-BE49-F238E27FC236}">
                <a16:creationId xmlns:a16="http://schemas.microsoft.com/office/drawing/2014/main" id="{F5D53FB5-AEEA-E299-8C02-197C9FF17B43}"/>
              </a:ext>
            </a:extLst>
          </p:cNvPr>
          <p:cNvSpPr/>
          <p:nvPr/>
        </p:nvSpPr>
        <p:spPr>
          <a:xfrm>
            <a:off x="4589232" y="2074393"/>
            <a:ext cx="144000" cy="144000"/>
          </a:xfrm>
          <a:prstGeom prst="star5">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fr-FR" sz="2400">
              <a:solidFill>
                <a:prstClr val="white"/>
              </a:solidFill>
              <a:latin typeface="Arial" panose="020B0604020202020204" pitchFamily="34" charset="0"/>
              <a:cs typeface="Arial" panose="020B0604020202020204" pitchFamily="34" charset="0"/>
            </a:endParaRPr>
          </a:p>
        </p:txBody>
      </p:sp>
      <p:sp>
        <p:nvSpPr>
          <p:cNvPr id="7" name="AutoShape 4">
            <a:extLst>
              <a:ext uri="{FF2B5EF4-FFF2-40B4-BE49-F238E27FC236}">
                <a16:creationId xmlns:a16="http://schemas.microsoft.com/office/drawing/2014/main" id="{477A539D-F41D-7CB0-EB7D-C0488B631002}"/>
              </a:ext>
            </a:extLst>
          </p:cNvPr>
          <p:cNvSpPr>
            <a:spLocks noChangeArrowheads="1"/>
          </p:cNvSpPr>
          <p:nvPr/>
        </p:nvSpPr>
        <p:spPr bwMode="auto">
          <a:xfrm>
            <a:off x="8136164" y="5042747"/>
            <a:ext cx="3655446" cy="366514"/>
          </a:xfrm>
          <a:prstGeom prst="homePlate">
            <a:avLst>
              <a:gd name="adj" fmla="val 28952"/>
            </a:avLst>
          </a:prstGeom>
          <a:solidFill>
            <a:schemeClr val="tx2"/>
          </a:solidFill>
          <a:ln>
            <a:noFill/>
          </a:ln>
        </p:spPr>
        <p:txBody>
          <a:bodyPr vert="horz" lIns="96000" tIns="101600" rIns="48000" bIns="101600" rtlCol="0" anchor="ctr">
            <a:noAutofit/>
          </a:bodyPr>
          <a:lstStyle/>
          <a:p>
            <a:pPr algn="ctr" defTabSz="1193711" fontAlgn="base">
              <a:spcBef>
                <a:spcPct val="0"/>
              </a:spcBef>
              <a:spcAft>
                <a:spcPct val="0"/>
              </a:spcAft>
              <a:buClr>
                <a:srgbClr val="6C6C6C"/>
              </a:buClr>
              <a:buSzPct val="100000"/>
            </a:pPr>
            <a:r>
              <a:rPr lang="fr-FR" sz="1000" kern="0">
                <a:solidFill>
                  <a:srgbClr val="FFFFFF"/>
                </a:solidFill>
                <a:latin typeface="Arial" panose="020B0604020202020204" pitchFamily="34" charset="0"/>
                <a:ea typeface="Geneva" charset="-128"/>
                <a:cs typeface="Arial" panose="020B0604020202020204" pitchFamily="34" charset="0"/>
              </a:rPr>
              <a:t>Généralisation de l’accompagnement </a:t>
            </a:r>
            <a:endParaRPr lang="en-US" sz="1000" kern="0">
              <a:solidFill>
                <a:srgbClr val="FFFFFF"/>
              </a:solidFill>
              <a:latin typeface="Arial" panose="020B0604020202020204" pitchFamily="34" charset="0"/>
              <a:ea typeface="Geneva" charset="-128"/>
              <a:cs typeface="Arial" panose="020B0604020202020204" pitchFamily="34" charset="0"/>
            </a:endParaRPr>
          </a:p>
        </p:txBody>
      </p:sp>
      <p:sp>
        <p:nvSpPr>
          <p:cNvPr id="10" name="AutoShape 4">
            <a:extLst>
              <a:ext uri="{FF2B5EF4-FFF2-40B4-BE49-F238E27FC236}">
                <a16:creationId xmlns:a16="http://schemas.microsoft.com/office/drawing/2014/main" id="{5FB40BF9-98BC-9091-0880-8236B2C98A7C}"/>
              </a:ext>
            </a:extLst>
          </p:cNvPr>
          <p:cNvSpPr>
            <a:spLocks noChangeArrowheads="1"/>
          </p:cNvSpPr>
          <p:nvPr/>
        </p:nvSpPr>
        <p:spPr bwMode="auto">
          <a:xfrm>
            <a:off x="3722420" y="2497455"/>
            <a:ext cx="3044206" cy="258937"/>
          </a:xfrm>
          <a:prstGeom prst="homePlate">
            <a:avLst>
              <a:gd name="adj" fmla="val 28952"/>
            </a:avLst>
          </a:prstGeom>
          <a:solidFill>
            <a:schemeClr val="accent5">
              <a:lumMod val="75000"/>
            </a:schemeClr>
          </a:solidFill>
          <a:ln w="12700" cmpd="sng">
            <a:solidFill>
              <a:schemeClr val="accent5">
                <a:lumMod val="75000"/>
              </a:schemeClr>
            </a:solidFill>
            <a:miter lim="800000"/>
            <a:headEnd/>
            <a:tailEnd/>
          </a:ln>
        </p:spPr>
        <p:txBody>
          <a:bodyPr lIns="72000" tIns="72000" rIns="72000" bIns="72000" anchor="ctr"/>
          <a:lstStyle/>
          <a:p>
            <a:pPr algn="ctr" defTabSz="914286" eaLnBrk="0" fontAlgn="base" hangingPunct="0">
              <a:lnSpc>
                <a:spcPct val="80000"/>
              </a:lnSpc>
              <a:spcBef>
                <a:spcPct val="0"/>
              </a:spcBef>
              <a:spcAft>
                <a:spcPct val="0"/>
              </a:spcAft>
            </a:pPr>
            <a:r>
              <a:rPr lang="fr-FR" sz="1000" kern="0">
                <a:solidFill>
                  <a:schemeClr val="bg1"/>
                </a:solidFill>
                <a:latin typeface="Arial" panose="020B0604020202020204" pitchFamily="34" charset="0"/>
                <a:ea typeface="Geneva" charset="-128"/>
                <a:cs typeface="Arial" panose="020B0604020202020204" pitchFamily="34" charset="0"/>
              </a:rPr>
              <a:t>Test interopérabilité  </a:t>
            </a:r>
            <a:endParaRPr lang="en-US" sz="1000" kern="0">
              <a:solidFill>
                <a:schemeClr val="bg1"/>
              </a:solidFill>
              <a:latin typeface="Arial" panose="020B0604020202020204" pitchFamily="34" charset="0"/>
              <a:ea typeface="Geneva" charset="-128"/>
              <a:cs typeface="Arial" panose="020B0604020202020204" pitchFamily="34" charset="0"/>
            </a:endParaRPr>
          </a:p>
        </p:txBody>
      </p:sp>
      <p:sp>
        <p:nvSpPr>
          <p:cNvPr id="12" name="AutoShape 4">
            <a:extLst>
              <a:ext uri="{FF2B5EF4-FFF2-40B4-BE49-F238E27FC236}">
                <a16:creationId xmlns:a16="http://schemas.microsoft.com/office/drawing/2014/main" id="{80D72249-F722-07CF-8717-015870C57D6D}"/>
              </a:ext>
            </a:extLst>
          </p:cNvPr>
          <p:cNvSpPr>
            <a:spLocks noChangeArrowheads="1"/>
          </p:cNvSpPr>
          <p:nvPr/>
        </p:nvSpPr>
        <p:spPr bwMode="auto">
          <a:xfrm>
            <a:off x="4661232" y="3440696"/>
            <a:ext cx="3024000" cy="225657"/>
          </a:xfrm>
          <a:prstGeom prst="homePlate">
            <a:avLst>
              <a:gd name="adj" fmla="val 28952"/>
            </a:avLst>
          </a:prstGeom>
          <a:solidFill>
            <a:schemeClr val="accent5">
              <a:lumMod val="75000"/>
            </a:schemeClr>
          </a:solidFill>
          <a:ln w="12700" cmpd="sng">
            <a:solidFill>
              <a:schemeClr val="accent5">
                <a:lumMod val="75000"/>
              </a:schemeClr>
            </a:solidFill>
            <a:miter lim="800000"/>
            <a:headEnd/>
            <a:tailEnd/>
          </a:ln>
        </p:spPr>
        <p:txBody>
          <a:bodyPr lIns="72000" tIns="72000" rIns="72000" bIns="72000" anchor="ctr"/>
          <a:lstStyle/>
          <a:p>
            <a:pPr algn="ctr" defTabSz="914286" eaLnBrk="0" fontAlgn="base" hangingPunct="0">
              <a:lnSpc>
                <a:spcPct val="80000"/>
              </a:lnSpc>
              <a:spcBef>
                <a:spcPct val="0"/>
              </a:spcBef>
              <a:spcAft>
                <a:spcPct val="0"/>
              </a:spcAft>
            </a:pPr>
            <a:r>
              <a:rPr lang="fr-FR" sz="1000" kern="0">
                <a:solidFill>
                  <a:schemeClr val="bg1"/>
                </a:solidFill>
                <a:latin typeface="Arial" panose="020B0604020202020204" pitchFamily="34" charset="0"/>
                <a:ea typeface="Geneva" charset="-128"/>
                <a:cs typeface="Arial" panose="020B0604020202020204" pitchFamily="34" charset="0"/>
              </a:rPr>
              <a:t>Test authentification </a:t>
            </a:r>
            <a:endParaRPr lang="en-US" sz="1000" kern="0">
              <a:solidFill>
                <a:schemeClr val="bg1"/>
              </a:solidFill>
              <a:latin typeface="Arial" panose="020B0604020202020204" pitchFamily="34" charset="0"/>
              <a:ea typeface="Geneva" charset="-128"/>
              <a:cs typeface="Arial" panose="020B0604020202020204" pitchFamily="34" charset="0"/>
            </a:endParaRPr>
          </a:p>
        </p:txBody>
      </p:sp>
      <p:sp>
        <p:nvSpPr>
          <p:cNvPr id="13" name="AutoShape 4">
            <a:extLst>
              <a:ext uri="{FF2B5EF4-FFF2-40B4-BE49-F238E27FC236}">
                <a16:creationId xmlns:a16="http://schemas.microsoft.com/office/drawing/2014/main" id="{4E89AF74-A08B-149E-25D4-0BCBAF31FE5B}"/>
              </a:ext>
            </a:extLst>
          </p:cNvPr>
          <p:cNvSpPr>
            <a:spLocks noChangeArrowheads="1"/>
          </p:cNvSpPr>
          <p:nvPr/>
        </p:nvSpPr>
        <p:spPr bwMode="auto">
          <a:xfrm>
            <a:off x="5720767" y="2011462"/>
            <a:ext cx="2016686" cy="304422"/>
          </a:xfrm>
          <a:prstGeom prst="homePlate">
            <a:avLst>
              <a:gd name="adj" fmla="val 28952"/>
            </a:avLst>
          </a:prstGeom>
          <a:solidFill>
            <a:schemeClr val="accent5">
              <a:lumMod val="75000"/>
            </a:schemeClr>
          </a:solidFill>
          <a:ln w="12700" cmpd="sng">
            <a:solidFill>
              <a:schemeClr val="accent5">
                <a:lumMod val="75000"/>
              </a:schemeClr>
            </a:solidFill>
            <a:miter lim="800000"/>
            <a:headEnd/>
            <a:tailEnd/>
          </a:ln>
        </p:spPr>
        <p:txBody>
          <a:bodyPr lIns="72000" tIns="72000" rIns="72000" bIns="72000" anchor="ctr"/>
          <a:lstStyle/>
          <a:p>
            <a:pPr algn="ctr" defTabSz="914286" eaLnBrk="0" fontAlgn="base" hangingPunct="0">
              <a:lnSpc>
                <a:spcPct val="80000"/>
              </a:lnSpc>
              <a:spcBef>
                <a:spcPct val="0"/>
              </a:spcBef>
              <a:spcAft>
                <a:spcPct val="0"/>
              </a:spcAft>
            </a:pPr>
            <a:r>
              <a:rPr lang="fr-FR" sz="1000" kern="0">
                <a:solidFill>
                  <a:schemeClr val="bg1"/>
                </a:solidFill>
                <a:latin typeface="Arial" panose="020B0604020202020204" pitchFamily="34" charset="0"/>
                <a:ea typeface="Geneva" charset="-128"/>
                <a:cs typeface="Arial" panose="020B0604020202020204" pitchFamily="34" charset="0"/>
              </a:rPr>
              <a:t>Atelier de conception fonctionnelle</a:t>
            </a:r>
            <a:endParaRPr lang="en-US" sz="1000" kern="0">
              <a:solidFill>
                <a:schemeClr val="bg1"/>
              </a:solidFill>
              <a:latin typeface="Arial" panose="020B0604020202020204" pitchFamily="34" charset="0"/>
              <a:ea typeface="Geneva" charset="-128"/>
              <a:cs typeface="Arial" panose="020B0604020202020204" pitchFamily="34" charset="0"/>
            </a:endParaRPr>
          </a:p>
        </p:txBody>
      </p:sp>
    </p:spTree>
    <p:extLst>
      <p:ext uri="{BB962C8B-B14F-4D97-AF65-F5344CB8AC3E}">
        <p14:creationId xmlns:p14="http://schemas.microsoft.com/office/powerpoint/2010/main" val="95899425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10-22 01:56 PM"/>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MTBTACCENT" val="Accent3ColorBoldText"/>
  <p:tag name="THINKCELLUNDODONOTDELETE" val="0"/>
  <p:tag name="TEXTBOX" val="Pas de planning validé à da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ANGLE" val="5"/>
</p:tagLst>
</file>

<file path=ppt/tags/tag103.xml><?xml version="1.0" encoding="utf-8"?>
<p:tagLst xmlns:a="http://schemas.openxmlformats.org/drawingml/2006/main" xmlns:r="http://schemas.openxmlformats.org/officeDocument/2006/relationships" xmlns:p="http://schemas.openxmlformats.org/presentationml/2006/main">
  <p:tag name="ANGLE" val="5"/>
</p:tagLst>
</file>

<file path=ppt/tags/tag104.xml><?xml version="1.0" encoding="utf-8"?>
<p:tagLst xmlns:a="http://schemas.openxmlformats.org/drawingml/2006/main" xmlns:r="http://schemas.openxmlformats.org/officeDocument/2006/relationships" xmlns:p="http://schemas.openxmlformats.org/presentationml/2006/main">
  <p:tag name="ANGLE" val="4"/>
</p:tagLst>
</file>

<file path=ppt/tags/tag105.xml><?xml version="1.0" encoding="utf-8"?>
<p:tagLst xmlns:a="http://schemas.openxmlformats.org/drawingml/2006/main" xmlns:r="http://schemas.openxmlformats.org/officeDocument/2006/relationships" xmlns:p="http://schemas.openxmlformats.org/presentationml/2006/main">
  <p:tag name="ANGLE" val="4"/>
</p:tagLst>
</file>

<file path=ppt/tags/tag106.xml><?xml version="1.0" encoding="utf-8"?>
<p:tagLst xmlns:a="http://schemas.openxmlformats.org/drawingml/2006/main" xmlns:r="http://schemas.openxmlformats.org/officeDocument/2006/relationships" xmlns:p="http://schemas.openxmlformats.org/presentationml/2006/main">
  <p:tag name="ANGLE" val="3"/>
</p:tagLst>
</file>

<file path=ppt/tags/tag107.xml><?xml version="1.0" encoding="utf-8"?>
<p:tagLst xmlns:a="http://schemas.openxmlformats.org/drawingml/2006/main" xmlns:r="http://schemas.openxmlformats.org/officeDocument/2006/relationships" xmlns:p="http://schemas.openxmlformats.org/presentationml/2006/main">
  <p:tag name="ANGLE" val="3"/>
</p:tagLst>
</file>

<file path=ppt/tags/tag108.xml><?xml version="1.0" encoding="utf-8"?>
<p:tagLst xmlns:a="http://schemas.openxmlformats.org/drawingml/2006/main" xmlns:r="http://schemas.openxmlformats.org/officeDocument/2006/relationships" xmlns:p="http://schemas.openxmlformats.org/presentationml/2006/main">
  <p:tag name="ANGLE" val="2"/>
</p:tagLst>
</file>

<file path=ppt/tags/tag109.xml><?xml version="1.0" encoding="utf-8"?>
<p:tagLst xmlns:a="http://schemas.openxmlformats.org/drawingml/2006/main" xmlns:r="http://schemas.openxmlformats.org/officeDocument/2006/relationships" xmlns:p="http://schemas.openxmlformats.org/presentationml/2006/main">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ANGLE" val="1"/>
</p:tagLst>
</file>

<file path=ppt/tags/tag111.xml><?xml version="1.0" encoding="utf-8"?>
<p:tagLst xmlns:a="http://schemas.openxmlformats.org/drawingml/2006/main" xmlns:r="http://schemas.openxmlformats.org/officeDocument/2006/relationships" xmlns:p="http://schemas.openxmlformats.org/presentationml/2006/main">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5.xml><?xml version="1.0" encoding="utf-8"?>
<p:tagLst xmlns:a="http://schemas.openxmlformats.org/drawingml/2006/main" xmlns:r="http://schemas.openxmlformats.org/officeDocument/2006/relationships" xmlns:p="http://schemas.openxmlformats.org/presentationml/2006/main">
  <p:tag name="SHAPENAME" val="Subtitle"/>
</p:tagLst>
</file>

<file path=ppt/tags/tag116.xml><?xml version="1.0" encoding="utf-8"?>
<p:tagLst xmlns:a="http://schemas.openxmlformats.org/drawingml/2006/main" xmlns:r="http://schemas.openxmlformats.org/officeDocument/2006/relationships" xmlns:p="http://schemas.openxmlformats.org/presentationml/2006/main">
  <p:tag name="SHAPENAME" val="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ubtitle"/>
</p:tagLst>
</file>

<file path=ppt/tags/tag121.xml><?xml version="1.0" encoding="utf-8"?>
<p:tagLst xmlns:a="http://schemas.openxmlformats.org/drawingml/2006/main" xmlns:r="http://schemas.openxmlformats.org/officeDocument/2006/relationships" xmlns:p="http://schemas.openxmlformats.org/presentationml/2006/main">
  <p:tag name="SHAPENAME" val="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9KMvO8NjW6VLxRiYWZmg"/>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9KMvO8NjW6VLxRiYWZm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NAME" val="ACET"/>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2.xml><?xml version="1.0" encoding="utf-8"?>
<a:theme xmlns:a="http://schemas.openxmlformats.org/drawingml/2006/main" name="1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3.xml><?xml version="1.0" encoding="utf-8"?>
<a:theme xmlns:a="http://schemas.openxmlformats.org/drawingml/2006/main" name="2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31BB410E-A6B9-4144-98E6-2C588236675D}" vid="{0B4E534E-D968-4B89-84ED-082C4E551A47}"/>
    </a:ext>
  </a:extLst>
</a:theme>
</file>

<file path=ppt/theme/theme4.xml><?xml version="1.0" encoding="utf-8"?>
<a:theme xmlns:a="http://schemas.openxmlformats.org/drawingml/2006/main" name="5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31BB410E-A6B9-4144-98E6-2C588236675D}" vid="{0B4E534E-D968-4B89-84ED-082C4E551A47}"/>
    </a:ext>
  </a:extLst>
</a:theme>
</file>

<file path=ppt/theme/theme5.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594883E220374C96DBCDA200D0B60F" ma:contentTypeVersion="12" ma:contentTypeDescription="Crée un document." ma:contentTypeScope="" ma:versionID="d50ede5f9f9254f5e43d3a944d200ca9">
  <xsd:schema xmlns:xsd="http://www.w3.org/2001/XMLSchema" xmlns:xs="http://www.w3.org/2001/XMLSchema" xmlns:p="http://schemas.microsoft.com/office/2006/metadata/properties" xmlns:ns2="4be56466-780a-45d7-8888-67cc91cdf11b" xmlns:ns3="3edf253b-20b8-472d-8354-16f38432466d" targetNamespace="http://schemas.microsoft.com/office/2006/metadata/properties" ma:root="true" ma:fieldsID="aa092f84a44c52e006f643302a4703a5" ns2:_="" ns3:_="">
    <xsd:import namespace="4be56466-780a-45d7-8888-67cc91cdf11b"/>
    <xsd:import namespace="3edf253b-20b8-472d-8354-16f38432466d"/>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56466-780a-45d7-8888-67cc91cdf1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df253b-20b8-472d-8354-16f38432466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ba5e4b7-d993-4918-8622-7076b6b38c6e}" ma:internalName="TaxCatchAll" ma:showField="CatchAllData" ma:web="3edf253b-20b8-472d-8354-16f3843246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edf253b-20b8-472d-8354-16f38432466d" xsi:nil="true"/>
    <lcf76f155ced4ddcb4097134ff3c332f xmlns="4be56466-780a-45d7-8888-67cc91cdf11b">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1D24E81-C706-4EDD-8B50-4DAD9EE355B3}">
  <ds:schemaRefs>
    <ds:schemaRef ds:uri="3edf253b-20b8-472d-8354-16f38432466d"/>
    <ds:schemaRef ds:uri="4be56466-780a-45d7-8888-67cc91cdf11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71FB250-5245-4BF6-AB43-090DBDAD44C7}">
  <ds:schemaRefs>
    <ds:schemaRef ds:uri="http://schemas.microsoft.com/sharepoint/v3/contenttype/forms"/>
  </ds:schemaRefs>
</ds:datastoreItem>
</file>

<file path=customXml/itemProps3.xml><?xml version="1.0" encoding="utf-8"?>
<ds:datastoreItem xmlns:ds="http://schemas.openxmlformats.org/officeDocument/2006/customXml" ds:itemID="{70F347B5-9746-4659-84F4-E303E9CCC26E}">
  <ds:schemaRefs>
    <ds:schemaRef ds:uri="3edf253b-20b8-472d-8354-16f38432466d"/>
    <ds:schemaRef ds:uri="4be56466-780a-45d7-8888-67cc91cdf11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plate ANS - client version</Template>
  <TotalTime>0</TotalTime>
  <Words>1130</Words>
  <Application>Microsoft Office PowerPoint</Application>
  <PresentationFormat>Grand écran</PresentationFormat>
  <Paragraphs>187</Paragraphs>
  <Slides>11</Slides>
  <Notes>9</Notes>
  <HiddenSlides>0</HiddenSlides>
  <MMClips>0</MMClips>
  <ScaleCrop>false</ScaleCrop>
  <HeadingPairs>
    <vt:vector size="6" baseType="variant">
      <vt:variant>
        <vt:lpstr>Polices utilisées</vt:lpstr>
      </vt:variant>
      <vt:variant>
        <vt:i4>5</vt:i4>
      </vt:variant>
      <vt:variant>
        <vt:lpstr>Thème</vt:lpstr>
      </vt:variant>
      <vt:variant>
        <vt:i4>4</vt:i4>
      </vt:variant>
      <vt:variant>
        <vt:lpstr>Titres des diapositives</vt:lpstr>
      </vt:variant>
      <vt:variant>
        <vt:i4>11</vt:i4>
      </vt:variant>
    </vt:vector>
  </HeadingPairs>
  <TitlesOfParts>
    <vt:vector size="20" baseType="lpstr">
      <vt:lpstr>Bahnschrift Condensed</vt:lpstr>
      <vt:lpstr>Georgia</vt:lpstr>
      <vt:lpstr>Segoe UI</vt:lpstr>
      <vt:lpstr>Webdings</vt:lpstr>
      <vt:lpstr>Wingdings 3</vt:lpstr>
      <vt:lpstr>White_FR_PA7711_16x9_OF_v1</vt:lpstr>
      <vt:lpstr>1_White_FR_PA7711_16x9_OF_v1</vt:lpstr>
      <vt:lpstr>2_ANS_THEME STANDARD_V1.0</vt:lpstr>
      <vt:lpstr>5_ANS_THEME STANDARD_V1.0</vt:lpstr>
      <vt:lpstr>SantExpo </vt:lpstr>
      <vt:lpstr>Déroulé de la présentation</vt:lpstr>
      <vt:lpstr>L'interopérabilité avec ViaTrajectoire : existant et perspectives</vt:lpstr>
      <vt:lpstr>L'interopérabilité avec ViaTrajectoire : existant et perspectives</vt:lpstr>
      <vt:lpstr>L'interopérabilité avec ViaTrajectoire : existant et perspectives</vt:lpstr>
      <vt:lpstr>L'interopérabilité avec ViaTrajectoire : existant et perspectives</vt:lpstr>
      <vt:lpstr>Interopérabilité ViaTrajectoire / SI-ESMS - Contexte projet</vt:lpstr>
      <vt:lpstr>Les acteurs impliqués dans le projet</vt:lpstr>
      <vt:lpstr>Macro-planning</vt:lpstr>
      <vt:lpstr>Les flux d’échange</vt:lpstr>
      <vt:lpstr>Partages de retours d’expérienc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rial 44 pt, bold bottom-aligned)</dc:title>
  <dc:subject/>
  <dc:creator>Edouard Paya</dc:creator>
  <cp:keywords/>
  <dc:description/>
  <cp:lastModifiedBy>Mehdi ZINE</cp:lastModifiedBy>
  <cp:revision>1</cp:revision>
  <cp:lastPrinted>2018-10-30T20:37:12Z</cp:lastPrinted>
  <dcterms:created xsi:type="dcterms:W3CDTF">2020-10-23T15:06:33Z</dcterms:created>
  <dcterms:modified xsi:type="dcterms:W3CDTF">2024-05-27T07:10:0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0-22 01:56 PM</vt:lpwstr>
  </property>
  <property fmtid="{D5CDD505-2E9C-101B-9397-08002B2CF9AE}" pid="8" name="TemplateCreated">
    <vt:lpwstr>2019-02-27 01:18 PM</vt:lpwstr>
  </property>
  <property fmtid="{D5CDD505-2E9C-101B-9397-08002B2CF9AE}" pid="9" name="ContentTypeId">
    <vt:lpwstr>0x010100B8594883E220374C96DBCDA200D0B60F</vt:lpwstr>
  </property>
  <property fmtid="{D5CDD505-2E9C-101B-9397-08002B2CF9AE}" pid="10" name="MSIP_Label_ae8fab06-504b-4325-93a9-50ca85e66f06_Enabled">
    <vt:lpwstr>true</vt:lpwstr>
  </property>
  <property fmtid="{D5CDD505-2E9C-101B-9397-08002B2CF9AE}" pid="11" name="MSIP_Label_ae8fab06-504b-4325-93a9-50ca85e66f06_SetDate">
    <vt:lpwstr>2021-09-14T11:42:38Z</vt:lpwstr>
  </property>
  <property fmtid="{D5CDD505-2E9C-101B-9397-08002B2CF9AE}" pid="12" name="MSIP_Label_ae8fab06-504b-4325-93a9-50ca85e66f06_Method">
    <vt:lpwstr>Standard</vt:lpwstr>
  </property>
  <property fmtid="{D5CDD505-2E9C-101B-9397-08002B2CF9AE}" pid="13" name="MSIP_Label_ae8fab06-504b-4325-93a9-50ca85e66f06_Name">
    <vt:lpwstr>C-Confidentiel</vt:lpwstr>
  </property>
  <property fmtid="{D5CDD505-2E9C-101B-9397-08002B2CF9AE}" pid="14" name="MSIP_Label_ae8fab06-504b-4325-93a9-50ca85e66f06_SiteId">
    <vt:lpwstr>41d9a388-7aef-420d-976c-d046beab641f</vt:lpwstr>
  </property>
  <property fmtid="{D5CDD505-2E9C-101B-9397-08002B2CF9AE}" pid="15" name="MSIP_Label_ae8fab06-504b-4325-93a9-50ca85e66f06_ActionId">
    <vt:lpwstr>a48b2006-4917-41a9-a78c-7421db1344ec</vt:lpwstr>
  </property>
  <property fmtid="{D5CDD505-2E9C-101B-9397-08002B2CF9AE}" pid="16" name="MSIP_Label_ae8fab06-504b-4325-93a9-50ca85e66f06_ContentBits">
    <vt:lpwstr>0</vt:lpwstr>
  </property>
  <property fmtid="{D5CDD505-2E9C-101B-9397-08002B2CF9AE}" pid="17" name="MediaServiceImageTags">
    <vt:lpwstr/>
  </property>
</Properties>
</file>